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69" r:id="rId3"/>
  </p:sldMasterIdLst>
  <p:notesMasterIdLst>
    <p:notesMasterId r:id="rId23"/>
  </p:notesMasterIdLst>
  <p:sldIdLst>
    <p:sldId id="264" r:id="rId4"/>
    <p:sldId id="3741" r:id="rId5"/>
    <p:sldId id="3800" r:id="rId6"/>
    <p:sldId id="3816" r:id="rId7"/>
    <p:sldId id="3811" r:id="rId8"/>
    <p:sldId id="3817" r:id="rId9"/>
    <p:sldId id="3818" r:id="rId10"/>
    <p:sldId id="3819" r:id="rId11"/>
    <p:sldId id="3814" r:id="rId12"/>
    <p:sldId id="3822" r:id="rId13"/>
    <p:sldId id="3823" r:id="rId14"/>
    <p:sldId id="3824" r:id="rId15"/>
    <p:sldId id="3825" r:id="rId16"/>
    <p:sldId id="3826" r:id="rId17"/>
    <p:sldId id="3827" r:id="rId18"/>
    <p:sldId id="3828" r:id="rId19"/>
    <p:sldId id="3829" r:id="rId20"/>
    <p:sldId id="3815" r:id="rId21"/>
    <p:sldId id="3787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 Mahendran" initials="SM" lastIdx="1" clrIdx="0">
    <p:extLst>
      <p:ext uri="{19B8F6BF-5375-455C-9EA6-DF929625EA0E}">
        <p15:presenceInfo xmlns:p15="http://schemas.microsoft.com/office/powerpoint/2012/main" userId="S::mahendranma@hcl.com::b682d74b-922c-4098-bea9-1ebe9b882dc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FF"/>
    <a:srgbClr val="FF62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40" autoAdjust="0"/>
    <p:restoredTop sz="94660"/>
  </p:normalViewPr>
  <p:slideViewPr>
    <p:cSldViewPr snapToGrid="0">
      <p:cViewPr varScale="1">
        <p:scale>
          <a:sx n="72" d="100"/>
          <a:sy n="72" d="100"/>
        </p:scale>
        <p:origin x="726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7-16T12:12:12.733" idx="1">
    <p:pos x="317" y="4099"/>
    <p:text>ddd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7-16T12:12:12.733" idx="1">
    <p:pos x="317" y="4099"/>
    <p:text>ddd</p:text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76E77C-BC80-41CA-BEAC-90D972D8C4CD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9E1884-D02C-4342-89E8-4EAD64D9C2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076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2884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3350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6308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3054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6D1055-995D-48C6-8433-39692A0C2D2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3900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963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556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330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486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1380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6312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8207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064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52400"/>
            <a:ext cx="11150600" cy="749300"/>
          </a:xfrm>
        </p:spPr>
        <p:txBody>
          <a:bodyPr>
            <a:normAutofit/>
          </a:bodyPr>
          <a:lstStyle>
            <a:lvl1pPr>
              <a:defRPr sz="2800" b="1">
                <a:solidFill>
                  <a:srgbClr val="FF6200"/>
                </a:solidFill>
                <a:latin typeface="ING Me" panose="02000506040000020004" pitchFamily="2" charset="0"/>
                <a:cs typeface="ING Me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62270"/>
            <a:ext cx="10515600" cy="4914693"/>
          </a:xfrm>
        </p:spPr>
        <p:txBody>
          <a:bodyPr/>
          <a:lstStyle>
            <a:lvl1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1pPr>
            <a:lvl2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2pPr>
            <a:lvl3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3pPr>
            <a:lvl4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4pPr>
            <a:lvl5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C3168-98C1-4C0F-B184-D9FA63D4C801}"/>
              </a:ext>
            </a:extLst>
          </p:cNvPr>
          <p:cNvCxnSpPr/>
          <p:nvPr userDrawn="1"/>
        </p:nvCxnSpPr>
        <p:spPr>
          <a:xfrm>
            <a:off x="11940614" y="0"/>
            <a:ext cx="0" cy="4399363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32A40-5F48-43A4-AACA-B20110CACE8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01981" y="4399363"/>
            <a:ext cx="138633" cy="277246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FEE6A3-E52C-47A1-B88E-71DA884495E9}"/>
              </a:ext>
            </a:extLst>
          </p:cNvPr>
          <p:cNvCxnSpPr/>
          <p:nvPr userDrawn="1"/>
        </p:nvCxnSpPr>
        <p:spPr>
          <a:xfrm>
            <a:off x="11801981" y="4676609"/>
            <a:ext cx="0" cy="739324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1874B5-83FC-43A2-A787-4F47ADABAC86}"/>
              </a:ext>
            </a:extLst>
          </p:cNvPr>
          <p:cNvCxnSpPr/>
          <p:nvPr userDrawn="1"/>
        </p:nvCxnSpPr>
        <p:spPr>
          <a:xfrm>
            <a:off x="11940614" y="4676609"/>
            <a:ext cx="0" cy="554493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2A0CA53-D3F4-429F-9E9A-509BF1D0FFEC}"/>
              </a:ext>
            </a:extLst>
          </p:cNvPr>
          <p:cNvCxnSpPr/>
          <p:nvPr userDrawn="1"/>
        </p:nvCxnSpPr>
        <p:spPr>
          <a:xfrm>
            <a:off x="11940614" y="5231102"/>
            <a:ext cx="138633" cy="184831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541309-DD97-4E3D-BD8C-5772A32E0AA7}"/>
              </a:ext>
            </a:extLst>
          </p:cNvPr>
          <p:cNvCxnSpPr>
            <a:cxnSpLocks/>
          </p:cNvCxnSpPr>
          <p:nvPr userDrawn="1"/>
        </p:nvCxnSpPr>
        <p:spPr>
          <a:xfrm>
            <a:off x="12079247" y="5415933"/>
            <a:ext cx="0" cy="462077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0BBACBFF-B55A-4EDA-980A-D920442427D0}"/>
              </a:ext>
            </a:extLst>
          </p:cNvPr>
          <p:cNvSpPr/>
          <p:nvPr userDrawn="1"/>
        </p:nvSpPr>
        <p:spPr>
          <a:xfrm>
            <a:off x="11755770" y="5369726"/>
            <a:ext cx="92421" cy="92414"/>
          </a:xfrm>
          <a:prstGeom prst="ellipse">
            <a:avLst/>
          </a:prstGeom>
          <a:solidFill>
            <a:schemeClr val="bg1"/>
          </a:solidFill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5614488-074F-4B42-AB86-089AC82EDB50}"/>
              </a:ext>
            </a:extLst>
          </p:cNvPr>
          <p:cNvSpPr/>
          <p:nvPr userDrawn="1"/>
        </p:nvSpPr>
        <p:spPr>
          <a:xfrm>
            <a:off x="12033036" y="5831804"/>
            <a:ext cx="92421" cy="92414"/>
          </a:xfrm>
          <a:prstGeom prst="ellipse">
            <a:avLst/>
          </a:prstGeom>
          <a:solidFill>
            <a:schemeClr val="bg1"/>
          </a:solidFill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E24E28-2B2C-4C25-B550-D4BBB65591CE}"/>
              </a:ext>
            </a:extLst>
          </p:cNvPr>
          <p:cNvSpPr/>
          <p:nvPr userDrawn="1"/>
        </p:nvSpPr>
        <p:spPr>
          <a:xfrm>
            <a:off x="11894404" y="4630403"/>
            <a:ext cx="92421" cy="92414"/>
          </a:xfrm>
          <a:prstGeom prst="ellipse">
            <a:avLst/>
          </a:prstGeom>
          <a:solidFill>
            <a:schemeClr val="bg1"/>
          </a:solidFill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2492DA2-C4C4-4496-B5D2-B753D5F9BB3F}"/>
              </a:ext>
            </a:extLst>
          </p:cNvPr>
          <p:cNvCxnSpPr/>
          <p:nvPr userDrawn="1"/>
        </p:nvCxnSpPr>
        <p:spPr>
          <a:xfrm flipH="1">
            <a:off x="11940614" y="5415933"/>
            <a:ext cx="138633" cy="241740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D240E82-7F27-473B-B21B-229AFC19D91D}"/>
              </a:ext>
            </a:extLst>
          </p:cNvPr>
          <p:cNvCxnSpPr/>
          <p:nvPr userDrawn="1"/>
        </p:nvCxnSpPr>
        <p:spPr>
          <a:xfrm>
            <a:off x="11940614" y="5657673"/>
            <a:ext cx="0" cy="634551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76E33F17-7FD6-4F63-98AB-82C76950050A}"/>
              </a:ext>
            </a:extLst>
          </p:cNvPr>
          <p:cNvSpPr/>
          <p:nvPr userDrawn="1"/>
        </p:nvSpPr>
        <p:spPr>
          <a:xfrm>
            <a:off x="11894403" y="6246017"/>
            <a:ext cx="92421" cy="92414"/>
          </a:xfrm>
          <a:prstGeom prst="ellipse">
            <a:avLst/>
          </a:prstGeom>
          <a:solidFill>
            <a:schemeClr val="bg1"/>
          </a:solidFill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</p:spTree>
    <p:extLst>
      <p:ext uri="{BB962C8B-B14F-4D97-AF65-F5344CB8AC3E}">
        <p14:creationId xmlns:p14="http://schemas.microsoft.com/office/powerpoint/2010/main" val="220385526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2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6428096"/>
          </a:xfrm>
          <a:prstGeom prst="rect">
            <a:avLst/>
          </a:prstGeom>
          <a:solidFill>
            <a:srgbClr val="2C3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dirty="0"/>
          </a:p>
        </p:txBody>
      </p:sp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830499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4280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dirty="0"/>
          </a:p>
        </p:txBody>
      </p:sp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4103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13499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1147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2294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3pPr>
            <a:lvl4pPr marL="123440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87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734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81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80288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1758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5949742" y="6609615"/>
            <a:ext cx="315263" cy="1896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9459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949742" y="6609615"/>
            <a:ext cx="315263" cy="1896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12109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591007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266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6"/>
          <p:cNvSpPr>
            <a:spLocks noChangeArrowheads="1"/>
          </p:cNvSpPr>
          <p:nvPr/>
        </p:nvSpPr>
        <p:spPr bwMode="auto">
          <a:xfrm>
            <a:off x="0" y="0"/>
            <a:ext cx="12192000" cy="6864096"/>
          </a:xfrm>
          <a:prstGeom prst="rect">
            <a:avLst/>
          </a:prstGeom>
          <a:solidFill>
            <a:srgbClr val="0E67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340" dirty="0"/>
          </a:p>
        </p:txBody>
      </p:sp>
      <p:grpSp>
        <p:nvGrpSpPr>
          <p:cNvPr id="52" name="Group 13"/>
          <p:cNvGrpSpPr>
            <a:grpSpLocks/>
          </p:cNvGrpSpPr>
          <p:nvPr/>
        </p:nvGrpSpPr>
        <p:grpSpPr bwMode="auto">
          <a:xfrm>
            <a:off x="5022443" y="5879612"/>
            <a:ext cx="2147116" cy="398765"/>
            <a:chOff x="3533775" y="5853113"/>
            <a:chExt cx="2144713" cy="438150"/>
          </a:xfrm>
        </p:grpSpPr>
        <p:sp>
          <p:nvSpPr>
            <p:cNvPr id="53" name="Freeform 74"/>
            <p:cNvSpPr>
              <a:spLocks/>
            </p:cNvSpPr>
            <p:nvPr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587910146 w 60"/>
                <a:gd name="T1" fmla="*/ 0 h 47"/>
                <a:gd name="T2" fmla="*/ 450732049 w 60"/>
                <a:gd name="T3" fmla="*/ 470671525 h 47"/>
                <a:gd name="T4" fmla="*/ 382143000 w 60"/>
                <a:gd name="T5" fmla="*/ 470671525 h 47"/>
                <a:gd name="T6" fmla="*/ 313550829 w 60"/>
                <a:gd name="T7" fmla="*/ 230327200 h 47"/>
                <a:gd name="T8" fmla="*/ 293956634 w 60"/>
                <a:gd name="T9" fmla="*/ 140198475 h 47"/>
                <a:gd name="T10" fmla="*/ 293956634 w 60"/>
                <a:gd name="T11" fmla="*/ 140198475 h 47"/>
                <a:gd name="T12" fmla="*/ 274359317 w 60"/>
                <a:gd name="T13" fmla="*/ 230327200 h 47"/>
                <a:gd name="T14" fmla="*/ 205767146 w 60"/>
                <a:gd name="T15" fmla="*/ 470671525 h 47"/>
                <a:gd name="T16" fmla="*/ 137178098 w 60"/>
                <a:gd name="T17" fmla="*/ 470671525 h 47"/>
                <a:gd name="T18" fmla="*/ 0 w 60"/>
                <a:gd name="T19" fmla="*/ 0 h 47"/>
                <a:gd name="T20" fmla="*/ 78389268 w 60"/>
                <a:gd name="T21" fmla="*/ 0 h 47"/>
                <a:gd name="T22" fmla="*/ 156775415 w 60"/>
                <a:gd name="T23" fmla="*/ 280400125 h 47"/>
                <a:gd name="T24" fmla="*/ 166575634 w 60"/>
                <a:gd name="T25" fmla="*/ 360514900 h 47"/>
                <a:gd name="T26" fmla="*/ 166575634 w 60"/>
                <a:gd name="T27" fmla="*/ 360514900 h 47"/>
                <a:gd name="T28" fmla="*/ 186172951 w 60"/>
                <a:gd name="T29" fmla="*/ 280400125 h 47"/>
                <a:gd name="T30" fmla="*/ 264559098 w 60"/>
                <a:gd name="T31" fmla="*/ 50072925 h 47"/>
                <a:gd name="T32" fmla="*/ 323351049 w 60"/>
                <a:gd name="T33" fmla="*/ 50072925 h 47"/>
                <a:gd name="T34" fmla="*/ 391940098 w 60"/>
                <a:gd name="T35" fmla="*/ 280400125 h 47"/>
                <a:gd name="T36" fmla="*/ 411537415 w 60"/>
                <a:gd name="T37" fmla="*/ 360514900 h 47"/>
                <a:gd name="T38" fmla="*/ 411537415 w 60"/>
                <a:gd name="T39" fmla="*/ 360514900 h 47"/>
                <a:gd name="T40" fmla="*/ 431134732 w 60"/>
                <a:gd name="T41" fmla="*/ 280400125 h 47"/>
                <a:gd name="T42" fmla="*/ 509520878 w 60"/>
                <a:gd name="T43" fmla="*/ 0 h 47"/>
                <a:gd name="T44" fmla="*/ 587910146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4" name="Freeform 75"/>
            <p:cNvSpPr>
              <a:spLocks noEditPoints="1"/>
            </p:cNvSpPr>
            <p:nvPr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321865625 w 43"/>
                <a:gd name="T1" fmla="*/ 360514900 h 47"/>
                <a:gd name="T2" fmla="*/ 120697625 w 43"/>
                <a:gd name="T3" fmla="*/ 360514900 h 47"/>
                <a:gd name="T4" fmla="*/ 80467200 w 43"/>
                <a:gd name="T5" fmla="*/ 470671525 h 47"/>
                <a:gd name="T6" fmla="*/ 0 w 43"/>
                <a:gd name="T7" fmla="*/ 470671525 h 47"/>
                <a:gd name="T8" fmla="*/ 181048025 w 43"/>
                <a:gd name="T9" fmla="*/ 0 h 47"/>
                <a:gd name="T10" fmla="*/ 251456825 w 43"/>
                <a:gd name="T11" fmla="*/ 0 h 47"/>
                <a:gd name="T12" fmla="*/ 432504850 w 43"/>
                <a:gd name="T13" fmla="*/ 470671525 h 47"/>
                <a:gd name="T14" fmla="*/ 352037650 w 43"/>
                <a:gd name="T15" fmla="*/ 470671525 h 47"/>
                <a:gd name="T16" fmla="*/ 321865625 w 43"/>
                <a:gd name="T17" fmla="*/ 360514900 h 47"/>
                <a:gd name="T18" fmla="*/ 291690425 w 43"/>
                <a:gd name="T19" fmla="*/ 290414075 h 47"/>
                <a:gd name="T20" fmla="*/ 241398425 w 43"/>
                <a:gd name="T21" fmla="*/ 140198475 h 47"/>
                <a:gd name="T22" fmla="*/ 221281625 w 43"/>
                <a:gd name="T23" fmla="*/ 80114775 h 47"/>
                <a:gd name="T24" fmla="*/ 221281625 w 43"/>
                <a:gd name="T25" fmla="*/ 80114775 h 47"/>
                <a:gd name="T26" fmla="*/ 201164825 w 43"/>
                <a:gd name="T27" fmla="*/ 140198475 h 47"/>
                <a:gd name="T28" fmla="*/ 140814425 w 43"/>
                <a:gd name="T29" fmla="*/ 290414075 h 47"/>
                <a:gd name="T30" fmla="*/ 291690425 w 43"/>
                <a:gd name="T31" fmla="*/ 290414075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5" name="Freeform 76"/>
            <p:cNvSpPr>
              <a:spLocks/>
            </p:cNvSpPr>
            <p:nvPr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146289335 w 82"/>
                <a:gd name="T1" fmla="*/ 0 h 111"/>
                <a:gd name="T2" fmla="*/ 146289335 w 82"/>
                <a:gd name="T3" fmla="*/ 25135674 h 111"/>
                <a:gd name="T4" fmla="*/ 87416667 w 82"/>
                <a:gd name="T5" fmla="*/ 25135674 h 111"/>
                <a:gd name="T6" fmla="*/ 87416667 w 82"/>
                <a:gd name="T7" fmla="*/ 199293348 h 111"/>
                <a:gd name="T8" fmla="*/ 58872668 w 82"/>
                <a:gd name="T9" fmla="*/ 199293348 h 111"/>
                <a:gd name="T10" fmla="*/ 58872668 w 82"/>
                <a:gd name="T11" fmla="*/ 25135674 h 111"/>
                <a:gd name="T12" fmla="*/ 0 w 82"/>
                <a:gd name="T13" fmla="*/ 25135674 h 111"/>
                <a:gd name="T14" fmla="*/ 0 w 82"/>
                <a:gd name="T15" fmla="*/ 0 h 111"/>
                <a:gd name="T16" fmla="*/ 146289335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6" name="Freeform 77"/>
            <p:cNvSpPr>
              <a:spLocks/>
            </p:cNvSpPr>
            <p:nvPr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335776634 w 42"/>
                <a:gd name="T1" fmla="*/ 139100542 h 49"/>
                <a:gd name="T2" fmla="*/ 217266126 w 42"/>
                <a:gd name="T3" fmla="*/ 69548700 h 49"/>
                <a:gd name="T4" fmla="*/ 79007005 w 42"/>
                <a:gd name="T5" fmla="*/ 238456726 h 49"/>
                <a:gd name="T6" fmla="*/ 217266126 w 42"/>
                <a:gd name="T7" fmla="*/ 407364752 h 49"/>
                <a:gd name="T8" fmla="*/ 345652509 w 42"/>
                <a:gd name="T9" fmla="*/ 327879177 h 49"/>
                <a:gd name="T10" fmla="*/ 414783639 w 42"/>
                <a:gd name="T11" fmla="*/ 347749785 h 49"/>
                <a:gd name="T12" fmla="*/ 217266126 w 42"/>
                <a:gd name="T13" fmla="*/ 486850327 h 49"/>
                <a:gd name="T14" fmla="*/ 0 w 42"/>
                <a:gd name="T15" fmla="*/ 238456726 h 49"/>
                <a:gd name="T16" fmla="*/ 217266126 w 42"/>
                <a:gd name="T17" fmla="*/ 0 h 49"/>
                <a:gd name="T18" fmla="*/ 404907763 w 42"/>
                <a:gd name="T19" fmla="*/ 119229934 h 49"/>
                <a:gd name="T20" fmla="*/ 335776634 w 42"/>
                <a:gd name="T21" fmla="*/ 139100542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7" name="Freeform 78"/>
            <p:cNvSpPr>
              <a:spLocks/>
            </p:cNvSpPr>
            <p:nvPr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4176293 w 82"/>
                <a:gd name="T5" fmla="*/ 199293348 h 111"/>
                <a:gd name="T6" fmla="*/ 114176293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4176293 w 82"/>
                <a:gd name="T21" fmla="*/ 80795255 h 111"/>
                <a:gd name="T22" fmla="*/ 114176293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8" name="Freeform 79"/>
            <p:cNvSpPr>
              <a:spLocks/>
            </p:cNvSpPr>
            <p:nvPr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148408107 w 83"/>
                <a:gd name="T1" fmla="*/ 0 h 111"/>
                <a:gd name="T2" fmla="*/ 148408107 w 83"/>
                <a:gd name="T3" fmla="*/ 25135674 h 111"/>
                <a:gd name="T4" fmla="*/ 89402071 w 83"/>
                <a:gd name="T5" fmla="*/ 25135674 h 111"/>
                <a:gd name="T6" fmla="*/ 89402071 w 83"/>
                <a:gd name="T7" fmla="*/ 199293348 h 111"/>
                <a:gd name="T8" fmla="*/ 59006036 w 83"/>
                <a:gd name="T9" fmla="*/ 199293348 h 111"/>
                <a:gd name="T10" fmla="*/ 59006036 w 83"/>
                <a:gd name="T11" fmla="*/ 25135674 h 111"/>
                <a:gd name="T12" fmla="*/ 0 w 83"/>
                <a:gd name="T13" fmla="*/ 25135674 h 111"/>
                <a:gd name="T14" fmla="*/ 0 w 83"/>
                <a:gd name="T15" fmla="*/ 0 h 111"/>
                <a:gd name="T16" fmla="*/ 14840810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9" name="Freeform 80"/>
            <p:cNvSpPr>
              <a:spLocks/>
            </p:cNvSpPr>
            <p:nvPr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2391641 w 82"/>
                <a:gd name="T5" fmla="*/ 199293348 h 111"/>
                <a:gd name="T6" fmla="*/ 112391641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2391641 w 82"/>
                <a:gd name="T21" fmla="*/ 80795255 h 111"/>
                <a:gd name="T22" fmla="*/ 112391641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0" name="Freeform 81"/>
            <p:cNvSpPr>
              <a:spLocks/>
            </p:cNvSpPr>
            <p:nvPr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127207046 w 71"/>
                <a:gd name="T1" fmla="*/ 168770786 h 111"/>
                <a:gd name="T2" fmla="*/ 127207046 w 71"/>
                <a:gd name="T3" fmla="*/ 199293348 h 111"/>
                <a:gd name="T4" fmla="*/ 0 w 71"/>
                <a:gd name="T5" fmla="*/ 199293348 h 111"/>
                <a:gd name="T6" fmla="*/ 0 w 71"/>
                <a:gd name="T7" fmla="*/ 0 h 111"/>
                <a:gd name="T8" fmla="*/ 123623768 w 71"/>
                <a:gd name="T9" fmla="*/ 0 h 111"/>
                <a:gd name="T10" fmla="*/ 123623768 w 71"/>
                <a:gd name="T11" fmla="*/ 25135674 h 111"/>
                <a:gd name="T12" fmla="*/ 30458535 w 71"/>
                <a:gd name="T13" fmla="*/ 25135674 h 111"/>
                <a:gd name="T14" fmla="*/ 30458535 w 71"/>
                <a:gd name="T15" fmla="*/ 80795255 h 111"/>
                <a:gd name="T16" fmla="*/ 102124099 w 71"/>
                <a:gd name="T17" fmla="*/ 80795255 h 111"/>
                <a:gd name="T18" fmla="*/ 102124099 w 71"/>
                <a:gd name="T19" fmla="*/ 105930929 h 111"/>
                <a:gd name="T20" fmla="*/ 30458535 w 71"/>
                <a:gd name="T21" fmla="*/ 105930929 h 111"/>
                <a:gd name="T22" fmla="*/ 30458535 w 71"/>
                <a:gd name="T23" fmla="*/ 168770786 h 111"/>
                <a:gd name="T24" fmla="*/ 127207046 w 71"/>
                <a:gd name="T25" fmla="*/ 168770786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1" name="Freeform 82"/>
            <p:cNvSpPr>
              <a:spLocks/>
            </p:cNvSpPr>
            <p:nvPr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37625092 w 71"/>
                <a:gd name="T1" fmla="*/ 34113373 h 111"/>
                <a:gd name="T2" fmla="*/ 37625092 w 71"/>
                <a:gd name="T3" fmla="*/ 84386065 h 111"/>
                <a:gd name="T4" fmla="*/ 109290655 w 71"/>
                <a:gd name="T5" fmla="*/ 84386065 h 111"/>
                <a:gd name="T6" fmla="*/ 109290655 w 71"/>
                <a:gd name="T7" fmla="*/ 118498094 h 111"/>
                <a:gd name="T8" fmla="*/ 37625092 w 71"/>
                <a:gd name="T9" fmla="*/ 118498094 h 111"/>
                <a:gd name="T10" fmla="*/ 37625092 w 71"/>
                <a:gd name="T11" fmla="*/ 199293348 h 111"/>
                <a:gd name="T12" fmla="*/ 0 w 71"/>
                <a:gd name="T13" fmla="*/ 199293348 h 111"/>
                <a:gd name="T14" fmla="*/ 0 w 71"/>
                <a:gd name="T15" fmla="*/ 0 h 111"/>
                <a:gd name="T16" fmla="*/ 127207046 w 71"/>
                <a:gd name="T17" fmla="*/ 0 h 111"/>
                <a:gd name="T18" fmla="*/ 127207046 w 71"/>
                <a:gd name="T19" fmla="*/ 34113373 h 111"/>
                <a:gd name="T20" fmla="*/ 37625092 w 71"/>
                <a:gd name="T21" fmla="*/ 34113373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2" name="Rectangle 83"/>
            <p:cNvSpPr>
              <a:spLocks noChangeArrowheads="1"/>
            </p:cNvSpPr>
            <p:nvPr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>
                <a:solidFill>
                  <a:schemeClr val="bg1"/>
                </a:solidFill>
              </a:endParaRPr>
            </a:p>
          </p:txBody>
        </p:sp>
        <p:sp>
          <p:nvSpPr>
            <p:cNvPr id="63" name="Freeform 84"/>
            <p:cNvSpPr>
              <a:spLocks/>
            </p:cNvSpPr>
            <p:nvPr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129327812 w 73"/>
                <a:gd name="T1" fmla="*/ 159794432 h 111"/>
                <a:gd name="T2" fmla="*/ 129327812 w 73"/>
                <a:gd name="T3" fmla="*/ 199293348 h 111"/>
                <a:gd name="T4" fmla="*/ 0 w 73"/>
                <a:gd name="T5" fmla="*/ 199293348 h 111"/>
                <a:gd name="T6" fmla="*/ 0 w 73"/>
                <a:gd name="T7" fmla="*/ 0 h 111"/>
                <a:gd name="T8" fmla="*/ 37204364 w 73"/>
                <a:gd name="T9" fmla="*/ 0 h 111"/>
                <a:gd name="T10" fmla="*/ 37204364 w 73"/>
                <a:gd name="T11" fmla="*/ 159794432 h 111"/>
                <a:gd name="T12" fmla="*/ 129327812 w 73"/>
                <a:gd name="T13" fmla="*/ 159794432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4" name="Freeform 85"/>
            <p:cNvSpPr>
              <a:spLocks/>
            </p:cNvSpPr>
            <p:nvPr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432504850 w 43"/>
                <a:gd name="T1" fmla="*/ 0 h 47"/>
                <a:gd name="T2" fmla="*/ 432504850 w 43"/>
                <a:gd name="T3" fmla="*/ 470671525 h 47"/>
                <a:gd name="T4" fmla="*/ 341979250 w 43"/>
                <a:gd name="T5" fmla="*/ 470671525 h 47"/>
                <a:gd name="T6" fmla="*/ 341979250 w 43"/>
                <a:gd name="T7" fmla="*/ 310441975 h 47"/>
                <a:gd name="T8" fmla="*/ 341979250 w 43"/>
                <a:gd name="T9" fmla="*/ 150215600 h 47"/>
                <a:gd name="T10" fmla="*/ 341979250 w 43"/>
                <a:gd name="T11" fmla="*/ 150215600 h 47"/>
                <a:gd name="T12" fmla="*/ 301748825 w 43"/>
                <a:gd name="T13" fmla="*/ 220313250 h 47"/>
                <a:gd name="T14" fmla="*/ 241398425 w 43"/>
                <a:gd name="T15" fmla="*/ 350500950 h 47"/>
                <a:gd name="T16" fmla="*/ 191106425 w 43"/>
                <a:gd name="T17" fmla="*/ 350500950 h 47"/>
                <a:gd name="T18" fmla="*/ 120697625 w 43"/>
                <a:gd name="T19" fmla="*/ 220313250 h 47"/>
                <a:gd name="T20" fmla="*/ 90525600 w 43"/>
                <a:gd name="T21" fmla="*/ 150215600 h 47"/>
                <a:gd name="T22" fmla="*/ 90525600 w 43"/>
                <a:gd name="T23" fmla="*/ 150215600 h 47"/>
                <a:gd name="T24" fmla="*/ 90525600 w 43"/>
                <a:gd name="T25" fmla="*/ 310441975 h 47"/>
                <a:gd name="T26" fmla="*/ 90525600 w 43"/>
                <a:gd name="T27" fmla="*/ 470671525 h 47"/>
                <a:gd name="T28" fmla="*/ 0 w 43"/>
                <a:gd name="T29" fmla="*/ 470671525 h 47"/>
                <a:gd name="T30" fmla="*/ 0 w 43"/>
                <a:gd name="T31" fmla="*/ 0 h 47"/>
                <a:gd name="T32" fmla="*/ 90525600 w 43"/>
                <a:gd name="T33" fmla="*/ 0 h 47"/>
                <a:gd name="T34" fmla="*/ 181048025 w 43"/>
                <a:gd name="T35" fmla="*/ 160229550 h 47"/>
                <a:gd name="T36" fmla="*/ 211223225 w 43"/>
                <a:gd name="T37" fmla="*/ 230327200 h 47"/>
                <a:gd name="T38" fmla="*/ 221281625 w 43"/>
                <a:gd name="T39" fmla="*/ 230327200 h 47"/>
                <a:gd name="T40" fmla="*/ 251456825 w 43"/>
                <a:gd name="T41" fmla="*/ 160229550 h 47"/>
                <a:gd name="T42" fmla="*/ 341979250 w 43"/>
                <a:gd name="T43" fmla="*/ 0 h 47"/>
                <a:gd name="T44" fmla="*/ 432504850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5" name="Oval 86"/>
            <p:cNvSpPr>
              <a:spLocks noChangeArrowheads="1"/>
            </p:cNvSpPr>
            <p:nvPr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6" name="Freeform 87"/>
            <p:cNvSpPr>
              <a:spLocks/>
            </p:cNvSpPr>
            <p:nvPr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387982774 h 218"/>
                <a:gd name="T2" fmla="*/ 0 w 106"/>
                <a:gd name="T3" fmla="*/ 0 h 218"/>
                <a:gd name="T4" fmla="*/ 188691457 w 106"/>
                <a:gd name="T5" fmla="*/ 193991387 h 218"/>
                <a:gd name="T6" fmla="*/ 0 w 106"/>
                <a:gd name="T7" fmla="*/ 387982774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899274" y="823248"/>
            <a:ext cx="2393454" cy="365535"/>
            <a:chOff x="3712598" y="617435"/>
            <a:chExt cx="1795091" cy="274151"/>
          </a:xfrm>
        </p:grpSpPr>
        <p:sp>
          <p:nvSpPr>
            <p:cNvPr id="69" name="Freeform 7"/>
            <p:cNvSpPr>
              <a:spLocks/>
            </p:cNvSpPr>
            <p:nvPr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0" name="Freeform 8"/>
            <p:cNvSpPr>
              <a:spLocks/>
            </p:cNvSpPr>
            <p:nvPr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1" name="Freeform 9"/>
            <p:cNvSpPr>
              <a:spLocks/>
            </p:cNvSpPr>
            <p:nvPr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3616727" y="2644563"/>
            <a:ext cx="4958551" cy="1061639"/>
            <a:chOff x="2697049" y="1983421"/>
            <a:chExt cx="3718913" cy="796229"/>
          </a:xfrm>
        </p:grpSpPr>
        <p:sp>
          <p:nvSpPr>
            <p:cNvPr id="73" name="Freeform 51"/>
            <p:cNvSpPr>
              <a:spLocks noEditPoints="1"/>
            </p:cNvSpPr>
            <p:nvPr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4" name="Freeform 52"/>
            <p:cNvSpPr>
              <a:spLocks/>
            </p:cNvSpPr>
            <p:nvPr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5" name="Freeform 53"/>
            <p:cNvSpPr>
              <a:spLocks/>
            </p:cNvSpPr>
            <p:nvPr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6" name="Freeform 54"/>
            <p:cNvSpPr>
              <a:spLocks noEditPoints="1"/>
            </p:cNvSpPr>
            <p:nvPr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7" name="Freeform 55"/>
            <p:cNvSpPr>
              <a:spLocks/>
            </p:cNvSpPr>
            <p:nvPr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8" name="Freeform 56"/>
            <p:cNvSpPr>
              <a:spLocks noEditPoints="1"/>
            </p:cNvSpPr>
            <p:nvPr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1" name="Freeform 59"/>
            <p:cNvSpPr>
              <a:spLocks/>
            </p:cNvSpPr>
            <p:nvPr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2" name="Freeform 60"/>
            <p:cNvSpPr>
              <a:spLocks/>
            </p:cNvSpPr>
            <p:nvPr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3" name="Freeform 61"/>
            <p:cNvSpPr>
              <a:spLocks noEditPoints="1"/>
            </p:cNvSpPr>
            <p:nvPr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4" name="Freeform 62"/>
            <p:cNvSpPr>
              <a:spLocks/>
            </p:cNvSpPr>
            <p:nvPr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6" name="Freeform 64"/>
            <p:cNvSpPr>
              <a:spLocks noEditPoints="1"/>
            </p:cNvSpPr>
            <p:nvPr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7" name="Freeform 65"/>
            <p:cNvSpPr>
              <a:spLocks noEditPoints="1"/>
            </p:cNvSpPr>
            <p:nvPr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1" name="Freeform 69"/>
            <p:cNvSpPr>
              <a:spLocks/>
            </p:cNvSpPr>
            <p:nvPr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2" name="Freeform 70"/>
            <p:cNvSpPr>
              <a:spLocks noEditPoints="1"/>
            </p:cNvSpPr>
            <p:nvPr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3" name="Freeform 71"/>
            <p:cNvSpPr>
              <a:spLocks noEditPoints="1"/>
            </p:cNvSpPr>
            <p:nvPr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4" name="Freeform 72"/>
            <p:cNvSpPr>
              <a:spLocks noEditPoints="1"/>
            </p:cNvSpPr>
            <p:nvPr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5" name="Freeform 73"/>
            <p:cNvSpPr>
              <a:spLocks/>
            </p:cNvSpPr>
            <p:nvPr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6" name="Freeform 74"/>
            <p:cNvSpPr>
              <a:spLocks/>
            </p:cNvSpPr>
            <p:nvPr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7" name="Freeform 75"/>
            <p:cNvSpPr>
              <a:spLocks/>
            </p:cNvSpPr>
            <p:nvPr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</p:grpSp>
      <p:sp>
        <p:nvSpPr>
          <p:cNvPr id="98" name="TextBox 48"/>
          <p:cNvSpPr txBox="1">
            <a:spLocks noChangeArrowheads="1"/>
          </p:cNvSpPr>
          <p:nvPr/>
        </p:nvSpPr>
        <p:spPr bwMode="auto">
          <a:xfrm>
            <a:off x="2749572" y="4052466"/>
            <a:ext cx="6692858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560" b="1" dirty="0">
                <a:solidFill>
                  <a:schemeClr val="bg1"/>
                </a:solidFill>
              </a:rPr>
              <a:t>$8 </a:t>
            </a:r>
            <a:r>
              <a:rPr lang="en-US" sz="1560" dirty="0">
                <a:solidFill>
                  <a:schemeClr val="bg1"/>
                </a:solidFill>
              </a:rPr>
              <a:t>BILLION ENTERPRISE | </a:t>
            </a:r>
            <a:r>
              <a:rPr lang="en-US" sz="1560" b="1" dirty="0">
                <a:solidFill>
                  <a:schemeClr val="bg1"/>
                </a:solidFill>
              </a:rPr>
              <a:t>120,000</a:t>
            </a:r>
            <a:r>
              <a:rPr lang="en-US" sz="1560" dirty="0">
                <a:solidFill>
                  <a:schemeClr val="bg1"/>
                </a:solidFill>
              </a:rPr>
              <a:t> IDEAPRENEURS | </a:t>
            </a:r>
            <a:r>
              <a:rPr lang="en-US" sz="1560" b="1" dirty="0">
                <a:solidFill>
                  <a:schemeClr val="bg1"/>
                </a:solidFill>
              </a:rPr>
              <a:t>39</a:t>
            </a:r>
            <a:r>
              <a:rPr lang="en-US" sz="1560" dirty="0">
                <a:solidFill>
                  <a:schemeClr val="bg1"/>
                </a:solidFill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9884863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56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0" y="0"/>
            <a:ext cx="12189078" cy="4984034"/>
          </a:xfrm>
          <a:prstGeom prst="rect">
            <a:avLst/>
          </a:prstGeom>
        </p:spPr>
      </p:pic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4252" y="4992658"/>
            <a:ext cx="11363498" cy="743998"/>
          </a:xfrm>
        </p:spPr>
        <p:txBody>
          <a:bodyPr wrap="square" lIns="0" tIns="0" rIns="0" bIns="0" anchor="ctr" anchorCtr="0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0529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14253" y="5736657"/>
            <a:ext cx="11363496" cy="425801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buFont typeface="Wingdings 2" pitchFamily="18" charset="2"/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Rectangle 9"/>
          <p:cNvSpPr>
            <a:spLocks/>
          </p:cNvSpPr>
          <p:nvPr userDrawn="1"/>
        </p:nvSpPr>
        <p:spPr>
          <a:xfrm>
            <a:off x="7990357" y="6576274"/>
            <a:ext cx="3789845" cy="246221"/>
          </a:xfrm>
          <a:prstGeom prst="rect">
            <a:avLst/>
          </a:prstGeom>
          <a:noFill/>
          <a:ln>
            <a:noFill/>
          </a:ln>
        </p:spPr>
        <p:txBody>
          <a:bodyPr wrap="none" rIns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HCL Technologies Limited  |  www.hcltech.com</a:t>
            </a:r>
          </a:p>
        </p:txBody>
      </p:sp>
      <p:grpSp>
        <p:nvGrpSpPr>
          <p:cNvPr id="11" name="Group 5"/>
          <p:cNvGrpSpPr>
            <a:grpSpLocks noChangeAspect="1"/>
          </p:cNvGrpSpPr>
          <p:nvPr userDrawn="1"/>
        </p:nvGrpSpPr>
        <p:grpSpPr bwMode="auto">
          <a:xfrm>
            <a:off x="10522574" y="6372018"/>
            <a:ext cx="1257628" cy="213783"/>
            <a:chOff x="5094" y="3939"/>
            <a:chExt cx="1488" cy="255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498841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8206716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242" y="0"/>
            <a:ext cx="11341514" cy="731520"/>
          </a:xfrm>
        </p:spPr>
        <p:txBody>
          <a:bodyPr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29432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498538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326369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/>
          <p:cNvGrpSpPr/>
          <p:nvPr userDrawn="1"/>
        </p:nvGrpSpPr>
        <p:grpSpPr>
          <a:xfrm>
            <a:off x="4899275" y="823248"/>
            <a:ext cx="2393454" cy="365535"/>
            <a:chOff x="3712598" y="617435"/>
            <a:chExt cx="1795091" cy="274151"/>
          </a:xfrm>
        </p:grpSpPr>
        <p:sp>
          <p:nvSpPr>
            <p:cNvPr id="70" name="Freeform 7"/>
            <p:cNvSpPr>
              <a:spLocks/>
            </p:cNvSpPr>
            <p:nvPr userDrawn="1"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8"/>
            <p:cNvSpPr>
              <a:spLocks/>
            </p:cNvSpPr>
            <p:nvPr userDrawn="1"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9"/>
            <p:cNvSpPr>
              <a:spLocks/>
            </p:cNvSpPr>
            <p:nvPr userDrawn="1"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3" name="Group 72"/>
          <p:cNvGrpSpPr/>
          <p:nvPr userDrawn="1"/>
        </p:nvGrpSpPr>
        <p:grpSpPr>
          <a:xfrm>
            <a:off x="3616727" y="2644563"/>
            <a:ext cx="4958550" cy="1061639"/>
            <a:chOff x="2697049" y="1983421"/>
            <a:chExt cx="3718913" cy="796229"/>
          </a:xfrm>
        </p:grpSpPr>
        <p:sp>
          <p:nvSpPr>
            <p:cNvPr id="74" name="Freeform 51"/>
            <p:cNvSpPr>
              <a:spLocks noEditPoints="1"/>
            </p:cNvSpPr>
            <p:nvPr userDrawn="1"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52"/>
            <p:cNvSpPr>
              <a:spLocks/>
            </p:cNvSpPr>
            <p:nvPr userDrawn="1"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53"/>
            <p:cNvSpPr>
              <a:spLocks/>
            </p:cNvSpPr>
            <p:nvPr userDrawn="1"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54"/>
            <p:cNvSpPr>
              <a:spLocks noEditPoints="1"/>
            </p:cNvSpPr>
            <p:nvPr userDrawn="1"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56"/>
            <p:cNvSpPr>
              <a:spLocks noEditPoints="1"/>
            </p:cNvSpPr>
            <p:nvPr userDrawn="1"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60"/>
            <p:cNvSpPr>
              <a:spLocks/>
            </p:cNvSpPr>
            <p:nvPr userDrawn="1"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61"/>
            <p:cNvSpPr>
              <a:spLocks noEditPoints="1"/>
            </p:cNvSpPr>
            <p:nvPr userDrawn="1"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62"/>
            <p:cNvSpPr>
              <a:spLocks/>
            </p:cNvSpPr>
            <p:nvPr userDrawn="1"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63"/>
            <p:cNvSpPr>
              <a:spLocks/>
            </p:cNvSpPr>
            <p:nvPr userDrawn="1"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64"/>
            <p:cNvSpPr>
              <a:spLocks noEditPoints="1"/>
            </p:cNvSpPr>
            <p:nvPr userDrawn="1"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65"/>
            <p:cNvSpPr>
              <a:spLocks noEditPoints="1"/>
            </p:cNvSpPr>
            <p:nvPr userDrawn="1"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66"/>
            <p:cNvSpPr>
              <a:spLocks/>
            </p:cNvSpPr>
            <p:nvPr userDrawn="1"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67"/>
            <p:cNvSpPr>
              <a:spLocks/>
            </p:cNvSpPr>
            <p:nvPr userDrawn="1"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68"/>
            <p:cNvSpPr>
              <a:spLocks/>
            </p:cNvSpPr>
            <p:nvPr userDrawn="1"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69"/>
            <p:cNvSpPr>
              <a:spLocks/>
            </p:cNvSpPr>
            <p:nvPr userDrawn="1"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70"/>
            <p:cNvSpPr>
              <a:spLocks noEditPoints="1"/>
            </p:cNvSpPr>
            <p:nvPr userDrawn="1"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71"/>
            <p:cNvSpPr>
              <a:spLocks noEditPoints="1"/>
            </p:cNvSpPr>
            <p:nvPr userDrawn="1"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72"/>
            <p:cNvSpPr>
              <a:spLocks noEditPoints="1"/>
            </p:cNvSpPr>
            <p:nvPr userDrawn="1"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73"/>
            <p:cNvSpPr>
              <a:spLocks/>
            </p:cNvSpPr>
            <p:nvPr userDrawn="1"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74"/>
            <p:cNvSpPr>
              <a:spLocks/>
            </p:cNvSpPr>
            <p:nvPr userDrawn="1"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75"/>
            <p:cNvSpPr>
              <a:spLocks/>
            </p:cNvSpPr>
            <p:nvPr userDrawn="1"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9" name="TextBox 48"/>
          <p:cNvSpPr txBox="1">
            <a:spLocks noChangeArrowheads="1"/>
          </p:cNvSpPr>
          <p:nvPr userDrawn="1"/>
        </p:nvSpPr>
        <p:spPr bwMode="auto">
          <a:xfrm>
            <a:off x="2147418" y="4052465"/>
            <a:ext cx="789716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8.4 </a:t>
            </a: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ION ENTERPRISE | </a:t>
            </a:r>
            <a:r>
              <a:rPr lang="en-US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2,000</a:t>
            </a: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DEAPRENEURS | </a:t>
            </a:r>
            <a:r>
              <a:rPr lang="en-US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</a:t>
            </a: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3477189815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101A3A96-FEF1-42CF-A42F-7CB5793245F7}"/>
              </a:ext>
            </a:extLst>
          </p:cNvPr>
          <p:cNvGrpSpPr/>
          <p:nvPr userDrawn="1"/>
        </p:nvGrpSpPr>
        <p:grpSpPr>
          <a:xfrm>
            <a:off x="10546240" y="6380402"/>
            <a:ext cx="1219595" cy="186117"/>
            <a:chOff x="10543493" y="6380401"/>
            <a:chExt cx="1219277" cy="186117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68A102B3-DA3F-4649-A851-E5C5D9E3F5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3493" y="6393814"/>
              <a:ext cx="468953" cy="162643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4803AC0-6E6E-49FA-A40C-7281E49AE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8787" y="6380401"/>
              <a:ext cx="442759" cy="186117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0E4755FB-D8E1-46C5-AC69-C621AD041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2251" y="6393814"/>
              <a:ext cx="340519" cy="162643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013366C-3811-4098-AC1F-C2306487C857}"/>
              </a:ext>
            </a:extLst>
          </p:cNvPr>
          <p:cNvSpPr>
            <a:spLocks/>
          </p:cNvSpPr>
          <p:nvPr userDrawn="1"/>
        </p:nvSpPr>
        <p:spPr>
          <a:xfrm>
            <a:off x="7708895" y="6571045"/>
            <a:ext cx="4071307" cy="18466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FD777D1B-2F69-4182-9426-A5784B095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31"/>
          <a:stretch/>
        </p:blipFill>
        <p:spPr>
          <a:xfrm>
            <a:off x="6093133" y="1"/>
            <a:ext cx="6104408" cy="6245287"/>
          </a:xfrm>
          <a:prstGeom prst="rect">
            <a:avLst/>
          </a:prstGeom>
        </p:spPr>
      </p:pic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0AA36AF6-D616-492A-94BD-AB2167A1C4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911"/>
          <a:stretch/>
        </p:blipFill>
        <p:spPr>
          <a:xfrm>
            <a:off x="412814" y="-611007"/>
            <a:ext cx="5623560" cy="5751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89831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0965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8" name="Rectangle 7"/>
          <p:cNvSpPr/>
          <p:nvPr userDrawn="1"/>
        </p:nvSpPr>
        <p:spPr>
          <a:xfrm>
            <a:off x="6020659" y="6692044"/>
            <a:ext cx="150682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6859F80E-620D-49A1-BE04-AB53E30ABC2A}" type="slidenum">
              <a:rPr lang="it-IT" sz="1000" smtClean="0">
                <a:solidFill>
                  <a:srgbClr val="404040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404040"/>
              </a:solidFill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11CBD7-DB7F-42B0-A0D1-A33354502D6F}"/>
              </a:ext>
            </a:extLst>
          </p:cNvPr>
          <p:cNvSpPr>
            <a:spLocks/>
          </p:cNvSpPr>
          <p:nvPr userDrawn="1"/>
        </p:nvSpPr>
        <p:spPr>
          <a:xfrm>
            <a:off x="8365806" y="6586434"/>
            <a:ext cx="341439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868546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1" y="1117601"/>
            <a:ext cx="11379200" cy="4976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25242" y="0"/>
            <a:ext cx="11341514" cy="731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 bwMode="auto">
          <a:xfrm>
            <a:off x="425242" y="731520"/>
            <a:ext cx="1134151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 userDrawn="1"/>
        </p:nvCxnSpPr>
        <p:spPr bwMode="auto">
          <a:xfrm>
            <a:off x="626696" y="6577014"/>
            <a:ext cx="0" cy="280987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sm" len="sm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1" name="Group 5">
            <a:extLst>
              <a:ext uri="{FF2B5EF4-FFF2-40B4-BE49-F238E27FC236}">
                <a16:creationId xmlns:a16="http://schemas.microsoft.com/office/drawing/2014/main" id="{0CCE870B-EF65-43AD-8631-842E7FF022B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522574" y="6372018"/>
            <a:ext cx="1257628" cy="213783"/>
            <a:chOff x="5094" y="3939"/>
            <a:chExt cx="1488" cy="255"/>
          </a:xfrm>
        </p:grpSpPr>
        <p:sp>
          <p:nvSpPr>
            <p:cNvPr id="22" name="AutoShape 4">
              <a:extLst>
                <a:ext uri="{FF2B5EF4-FFF2-40B4-BE49-F238E27FC236}">
                  <a16:creationId xmlns:a16="http://schemas.microsoft.com/office/drawing/2014/main" id="{9C253784-09F8-4976-84D6-A4DA73F4D3B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EF6BD5D9-E3FF-4B92-B513-C639B3AA4A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89256275-7ED3-4165-B42C-AAF585599E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5855664-B1EE-4B2D-8326-F795B14D2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C3560AF2-F6EC-452D-8247-DA0DBDCF67CA}"/>
              </a:ext>
            </a:extLst>
          </p:cNvPr>
          <p:cNvSpPr>
            <a:spLocks/>
          </p:cNvSpPr>
          <p:nvPr userDrawn="1"/>
        </p:nvSpPr>
        <p:spPr>
          <a:xfrm>
            <a:off x="8365806" y="6586434"/>
            <a:ext cx="341439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339660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81" r:id="rId7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cap="none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346075" indent="-34607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ebdings" panose="05030102010509060703" pitchFamily="18" charset="2"/>
        <a:buChar char="4"/>
        <a:defRPr sz="20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68325" indent="-22860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798513" indent="-22860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Symbol" panose="05050102010706020507" pitchFamily="18" charset="2"/>
        <a:buChar char="·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9048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1334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15906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28649" y="397912"/>
            <a:ext cx="10908000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28650" y="1611630"/>
            <a:ext cx="10908000" cy="202590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2" cstate="print">
            <a:lum brigh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04" y="6478112"/>
            <a:ext cx="582893" cy="325168"/>
          </a:xfrm>
          <a:prstGeom prst="rect">
            <a:avLst/>
          </a:prstGeom>
        </p:spPr>
      </p:pic>
      <p:pic>
        <p:nvPicPr>
          <p:cNvPr id="3074" name="Picture 2" descr="Image result for hcl logo black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06" y="6429859"/>
            <a:ext cx="1123686" cy="306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724400" y="64935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DB2352-4C90-40A1-9D9F-A9BFF806F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3C38DA-5FCF-4A2C-A1D8-7172D7A8467B}"/>
              </a:ext>
            </a:extLst>
          </p:cNvPr>
          <p:cNvSpPr>
            <a:spLocks/>
          </p:cNvSpPr>
          <p:nvPr userDrawn="1"/>
        </p:nvSpPr>
        <p:spPr>
          <a:xfrm>
            <a:off x="8365806" y="6586434"/>
            <a:ext cx="341439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114073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7" r:id="rId7"/>
    <p:sldLayoutId id="2147483678" r:id="rId8"/>
    <p:sldLayoutId id="2147483679" r:id="rId9"/>
    <p:sldLayoutId id="2147483680" r:id="rId10"/>
  </p:sldLayoutIdLst>
  <p:hf hdr="0" ftr="0" dt="0"/>
  <p:txStyles>
    <p:titleStyle>
      <a:lvl1pPr algn="l" defTabSz="61722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54305" indent="-154305" algn="l" defTabSz="617220" rtl="0" eaLnBrk="1" latinLnBrk="0" hangingPunct="1">
        <a:lnSpc>
          <a:spcPct val="90000"/>
        </a:lnSpc>
        <a:spcBef>
          <a:spcPts val="675"/>
        </a:spcBef>
        <a:buFont typeface="Arial"/>
        <a:buChar char="•"/>
        <a:defRPr sz="189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291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77152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38874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A2AE388-E5C4-4892-A443-C9254C5F7DE1}"/>
              </a:ext>
            </a:extLst>
          </p:cNvPr>
          <p:cNvSpPr/>
          <p:nvPr/>
        </p:nvSpPr>
        <p:spPr bwMode="auto">
          <a:xfrm>
            <a:off x="519065" y="1423618"/>
            <a:ext cx="5864206" cy="2043711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Subtitle 8">
            <a:extLst>
              <a:ext uri="{FF2B5EF4-FFF2-40B4-BE49-F238E27FC236}">
                <a16:creationId xmlns:a16="http://schemas.microsoft.com/office/drawing/2014/main" id="{41EEB72E-01D8-4CE7-B307-35E4A1E14C71}"/>
              </a:ext>
            </a:extLst>
          </p:cNvPr>
          <p:cNvSpPr txBox="1">
            <a:spLocks/>
          </p:cNvSpPr>
          <p:nvPr/>
        </p:nvSpPr>
        <p:spPr bwMode="auto">
          <a:xfrm>
            <a:off x="519065" y="4744279"/>
            <a:ext cx="543020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+mj-lt"/>
              </a:defRPr>
            </a:lvl2pPr>
            <a:lvl3pPr marL="690563" indent="-2333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Calibri" panose="020F0502020204030204" pitchFamily="34" charset="0"/>
              <a:buChar char="▫"/>
              <a:defRPr sz="1400">
                <a:solidFill>
                  <a:schemeClr val="tx1"/>
                </a:solidFill>
                <a:latin typeface="+mj-lt"/>
              </a:defRPr>
            </a:lvl3pPr>
            <a:lvl4pPr marL="904875" indent="-2190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133475" indent="-2190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1590675" indent="-219075" algn="l" rtl="0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047875" indent="-219075" algn="l" rtl="0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505075" indent="-219075" algn="l" rtl="0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2962275" indent="-219075" algn="l" rtl="0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2400" b="1" kern="0" dirty="0">
                <a:solidFill>
                  <a:srgbClr val="000000"/>
                </a:solidFill>
                <a:latin typeface="ING Me"/>
              </a:rPr>
              <a:t>July 17, 2020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B345DEA3-8AD5-4228-8C61-B25591D9794B}"/>
              </a:ext>
            </a:extLst>
          </p:cNvPr>
          <p:cNvSpPr txBox="1">
            <a:spLocks/>
          </p:cNvSpPr>
          <p:nvPr/>
        </p:nvSpPr>
        <p:spPr bwMode="auto">
          <a:xfrm>
            <a:off x="198570" y="1980226"/>
            <a:ext cx="6245275" cy="4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800" b="1" cap="none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lvl="0" algn="ctr">
              <a:lnSpc>
                <a:spcPct val="110000"/>
              </a:lnSpc>
              <a:defRPr/>
            </a:pPr>
            <a:r>
              <a:rPr lang="en-GB" kern="0" dirty="0">
                <a:solidFill>
                  <a:schemeClr val="tx2"/>
                </a:solidFill>
                <a:latin typeface="ING Me"/>
              </a:rPr>
              <a:t>SonarQube-Rule-Customiz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8FA1AE-C5B5-4E53-904C-33123EA2C259}"/>
              </a:ext>
            </a:extLst>
          </p:cNvPr>
          <p:cNvSpPr/>
          <p:nvPr/>
        </p:nvSpPr>
        <p:spPr>
          <a:xfrm>
            <a:off x="6020659" y="6692044"/>
            <a:ext cx="150682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6859F80E-620D-49A1-BE04-AB53E30ABC2A}" type="slidenum">
              <a:rPr lang="it-IT" sz="1000" smtClean="0">
                <a:solidFill>
                  <a:srgbClr val="404040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pPr algn="ctr" eaLnBrk="1" hangingPunct="1"/>
              <a:t>1</a:t>
            </a:fld>
            <a:endParaRPr lang="en-US" sz="1000" dirty="0">
              <a:solidFill>
                <a:srgbClr val="404040"/>
              </a:solidFill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4881167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To create our first custom rule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ING Me" panose="02000506040000020004"/>
              </a:rPr>
              <a:t>2.In package </a:t>
            </a:r>
            <a:r>
              <a:rPr lang="en-US" sz="2000" dirty="0" err="1">
                <a:latin typeface="ING Me" panose="02000506040000020004"/>
              </a:rPr>
              <a:t>org.sonar.samples.java.checks</a:t>
            </a:r>
            <a:r>
              <a:rPr lang="en-US" sz="2000" dirty="0">
                <a:latin typeface="ING Me" panose="02000506040000020004"/>
              </a:rPr>
              <a:t> of /</a:t>
            </a:r>
            <a:r>
              <a:rPr lang="en-US" sz="2000" dirty="0" err="1">
                <a:latin typeface="ING Me" panose="02000506040000020004"/>
              </a:rPr>
              <a:t>src</a:t>
            </a:r>
            <a:r>
              <a:rPr lang="en-US" sz="2000" dirty="0">
                <a:latin typeface="ING Me" panose="02000506040000020004"/>
              </a:rPr>
              <a:t>/test/java, create a new test class called </a:t>
            </a:r>
            <a:r>
              <a:rPr lang="en-US" sz="2000" dirty="0" err="1">
                <a:latin typeface="ING Me" panose="02000506040000020004"/>
              </a:rPr>
              <a:t>MyFirstCustomCheckTest</a:t>
            </a:r>
            <a:r>
              <a:rPr lang="en-US" sz="2000" dirty="0">
                <a:latin typeface="ING Me" panose="02000506040000020004"/>
              </a:rPr>
              <a:t> and copy-paste the content of the following code snippet.</a:t>
            </a:r>
          </a:p>
          <a:p>
            <a:endParaRPr lang="en-US" sz="2000" dirty="0">
              <a:latin typeface="ING Me" panose="02000506040000020004"/>
            </a:endParaRPr>
          </a:p>
          <a:p>
            <a:r>
              <a:rPr lang="en-US" sz="2000" dirty="0">
                <a:latin typeface="ING Me" panose="02000506040000020004"/>
              </a:rPr>
              <a:t>MyFirstCustomCheckTest.java</a:t>
            </a:r>
          </a:p>
          <a:p>
            <a:endParaRPr lang="en-US" sz="2000" dirty="0">
              <a:latin typeface="ING Me" panose="02000506040000020004"/>
            </a:endParaRPr>
          </a:p>
          <a:p>
            <a:r>
              <a:rPr lang="en-US" sz="2000" dirty="0">
                <a:latin typeface="ING Me" panose="02000506040000020004"/>
              </a:rPr>
              <a:t>package </a:t>
            </a:r>
            <a:r>
              <a:rPr lang="en-US" sz="2000" dirty="0" err="1">
                <a:latin typeface="ING Me" panose="02000506040000020004"/>
              </a:rPr>
              <a:t>org.sonar.samples.java.checks</a:t>
            </a:r>
            <a:r>
              <a:rPr lang="en-US" sz="2000" dirty="0">
                <a:latin typeface="ING Me" panose="02000506040000020004"/>
              </a:rPr>
              <a:t>;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</a:p>
          <a:p>
            <a:r>
              <a:rPr lang="en-US" sz="2000" dirty="0">
                <a:latin typeface="ING Me" panose="02000506040000020004"/>
              </a:rPr>
              <a:t>import </a:t>
            </a:r>
            <a:r>
              <a:rPr lang="en-US" sz="2000" dirty="0" err="1">
                <a:latin typeface="ING Me" panose="02000506040000020004"/>
              </a:rPr>
              <a:t>org.junit.Test</a:t>
            </a:r>
            <a:r>
              <a:rPr lang="en-US" sz="2000" dirty="0">
                <a:latin typeface="ING Me" panose="02000506040000020004"/>
              </a:rPr>
              <a:t>;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</a:p>
          <a:p>
            <a:r>
              <a:rPr lang="en-US" sz="2000" dirty="0">
                <a:latin typeface="ING Me" panose="02000506040000020004"/>
              </a:rPr>
              <a:t>public class </a:t>
            </a:r>
            <a:r>
              <a:rPr lang="en-US" sz="2000" dirty="0" err="1">
                <a:latin typeface="ING Me" panose="02000506040000020004"/>
              </a:rPr>
              <a:t>MyFirstCustomCheckTest</a:t>
            </a:r>
            <a:r>
              <a:rPr lang="en-US" sz="2000" dirty="0">
                <a:latin typeface="ING Me" panose="02000506040000020004"/>
              </a:rPr>
              <a:t> {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</a:p>
          <a:p>
            <a:r>
              <a:rPr lang="en-US" sz="2000" dirty="0">
                <a:latin typeface="ING Me" panose="02000506040000020004"/>
              </a:rPr>
              <a:t>@Test</a:t>
            </a:r>
          </a:p>
          <a:p>
            <a:r>
              <a:rPr lang="en-US" sz="2000" dirty="0">
                <a:latin typeface="ING Me" panose="02000506040000020004"/>
              </a:rPr>
              <a:t>public void test() {</a:t>
            </a:r>
          </a:p>
          <a:p>
            <a:r>
              <a:rPr lang="en-US" sz="2000" dirty="0">
                <a:latin typeface="ING Me" panose="02000506040000020004"/>
              </a:rPr>
              <a:t>  </a:t>
            </a:r>
            <a:r>
              <a:rPr lang="en-US" sz="2000" dirty="0" err="1">
                <a:latin typeface="ING Me" panose="02000506040000020004"/>
              </a:rPr>
              <a:t>JavaCheckVerifier.verify</a:t>
            </a:r>
            <a:r>
              <a:rPr lang="en-US" sz="2000" dirty="0">
                <a:latin typeface="ING Me" panose="02000506040000020004"/>
              </a:rPr>
              <a:t>("</a:t>
            </a:r>
            <a:r>
              <a:rPr lang="en-US" sz="2000" dirty="0" err="1">
                <a:latin typeface="ING Me" panose="02000506040000020004"/>
              </a:rPr>
              <a:t>src</a:t>
            </a:r>
            <a:r>
              <a:rPr lang="en-US" sz="2000" dirty="0">
                <a:latin typeface="ING Me" panose="02000506040000020004"/>
              </a:rPr>
              <a:t>/test/files/MyFirstCustomCheck.java", new </a:t>
            </a:r>
            <a:r>
              <a:rPr lang="en-US" sz="2000" dirty="0" err="1">
                <a:latin typeface="ING Me" panose="02000506040000020004"/>
              </a:rPr>
              <a:t>MyFirstCustomCheck</a:t>
            </a:r>
            <a:r>
              <a:rPr lang="en-US" sz="2000" dirty="0">
                <a:latin typeface="ING Me" panose="02000506040000020004"/>
              </a:rPr>
              <a:t>());</a:t>
            </a:r>
          </a:p>
          <a:p>
            <a:r>
              <a:rPr lang="en-US" sz="2000" dirty="0">
                <a:latin typeface="ING Me" panose="02000506040000020004"/>
              </a:rPr>
              <a:t>}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</a:p>
          <a:p>
            <a:r>
              <a:rPr lang="en-US" sz="2000" dirty="0">
                <a:latin typeface="ING Me" panose="02000506040000020004"/>
              </a:rPr>
              <a:t>}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  <a:endParaRPr lang="en-US" sz="140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1632273401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To create our first custom rule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ING Me" panose="02000506040000020004"/>
              </a:rPr>
              <a:t>3.In package </a:t>
            </a:r>
            <a:r>
              <a:rPr lang="en-US" sz="1400" dirty="0" err="1">
                <a:latin typeface="ING Me" panose="02000506040000020004"/>
              </a:rPr>
              <a:t>org.sonar.samples.java.checks</a:t>
            </a:r>
            <a:r>
              <a:rPr lang="en-US" sz="1400" dirty="0">
                <a:latin typeface="ING Me" panose="02000506040000020004"/>
              </a:rPr>
              <a:t> of /</a:t>
            </a:r>
            <a:r>
              <a:rPr lang="en-US" sz="1400" dirty="0" err="1">
                <a:latin typeface="ING Me" panose="02000506040000020004"/>
              </a:rPr>
              <a:t>src</a:t>
            </a:r>
            <a:r>
              <a:rPr lang="en-US" sz="1400" dirty="0">
                <a:latin typeface="ING Me" panose="02000506040000020004"/>
              </a:rPr>
              <a:t>/main/java, create a new class called </a:t>
            </a:r>
            <a:r>
              <a:rPr lang="en-US" sz="1400" dirty="0" err="1">
                <a:latin typeface="ING Me" panose="02000506040000020004"/>
              </a:rPr>
              <a:t>MyFirstCustomCheck</a:t>
            </a:r>
            <a:r>
              <a:rPr lang="en-US" sz="1400" dirty="0">
                <a:latin typeface="ING Me" panose="02000506040000020004"/>
              </a:rPr>
              <a:t> extending class </a:t>
            </a:r>
            <a:r>
              <a:rPr lang="en-US" sz="1400" dirty="0" err="1">
                <a:latin typeface="ING Me" panose="02000506040000020004"/>
              </a:rPr>
              <a:t>org.sonar.plugins.java.api.IssuableSubscriptionVisitor</a:t>
            </a:r>
            <a:r>
              <a:rPr lang="en-US" sz="1400" dirty="0">
                <a:latin typeface="ING Me" panose="02000506040000020004"/>
              </a:rPr>
              <a:t> provided by the Java Plugin API. Then, replace the content of the </a:t>
            </a:r>
            <a:r>
              <a:rPr lang="en-US" sz="1400" dirty="0" err="1">
                <a:latin typeface="ING Me" panose="02000506040000020004"/>
              </a:rPr>
              <a:t>nodesToVisit</a:t>
            </a:r>
            <a:r>
              <a:rPr lang="en-US" sz="1400" dirty="0">
                <a:latin typeface="ING Me" panose="02000506040000020004"/>
              </a:rPr>
              <a:t>() method with the content from the following code snippet (you may have to import </a:t>
            </a:r>
            <a:r>
              <a:rPr lang="en-US" sz="1400" dirty="0" err="1">
                <a:latin typeface="ING Me" panose="02000506040000020004"/>
              </a:rPr>
              <a:t>com.google.common.collect.ImmutableList</a:t>
            </a:r>
            <a:r>
              <a:rPr lang="en-US" sz="1400" dirty="0">
                <a:latin typeface="ING Me" panose="02000506040000020004"/>
              </a:rPr>
              <a:t>). This file will be described when dealing with implementation of the rule!</a:t>
            </a:r>
          </a:p>
          <a:p>
            <a:endParaRPr lang="en-US" sz="1400" dirty="0">
              <a:latin typeface="ING Me" panose="02000506040000020004"/>
            </a:endParaRPr>
          </a:p>
          <a:p>
            <a:r>
              <a:rPr lang="en-US" sz="1400" dirty="0">
                <a:latin typeface="ING Me" panose="02000506040000020004"/>
              </a:rPr>
              <a:t>MyFirstCustomCheck.java</a:t>
            </a:r>
          </a:p>
          <a:p>
            <a:r>
              <a:rPr lang="en-US" sz="1400" dirty="0">
                <a:latin typeface="ING Me" panose="02000506040000020004"/>
              </a:rPr>
              <a:t>package </a:t>
            </a:r>
            <a:r>
              <a:rPr lang="en-US" sz="1400" dirty="0" err="1">
                <a:latin typeface="ING Me" panose="02000506040000020004"/>
              </a:rPr>
              <a:t>org.sonar.samples.java.checks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import </a:t>
            </a:r>
            <a:r>
              <a:rPr lang="en-US" sz="1400" dirty="0" err="1">
                <a:latin typeface="ING Me" panose="02000506040000020004"/>
              </a:rPr>
              <a:t>com.google.common.collect.ImmutableList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import </a:t>
            </a:r>
            <a:r>
              <a:rPr lang="en-US" sz="1400" dirty="0" err="1">
                <a:latin typeface="ING Me" panose="02000506040000020004"/>
              </a:rPr>
              <a:t>org.sonar.plugins.java.api.IssuableSubscriptionVisitor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import </a:t>
            </a:r>
            <a:r>
              <a:rPr lang="en-US" sz="1400" dirty="0" err="1">
                <a:latin typeface="ING Me" panose="02000506040000020004"/>
              </a:rPr>
              <a:t>org.sonar.plugins.java.api.tree.Tree.Kind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import </a:t>
            </a:r>
            <a:r>
              <a:rPr lang="en-US" sz="1400" dirty="0" err="1">
                <a:latin typeface="ING Me" panose="02000506040000020004"/>
              </a:rPr>
              <a:t>java.util.List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@Rule(key = "</a:t>
            </a:r>
            <a:r>
              <a:rPr lang="en-US" sz="1400" dirty="0" err="1">
                <a:latin typeface="ING Me" panose="02000506040000020004"/>
              </a:rPr>
              <a:t>MyFirstCustomRule</a:t>
            </a:r>
            <a:r>
              <a:rPr lang="en-US" sz="1400" dirty="0">
                <a:latin typeface="ING Me" panose="02000506040000020004"/>
              </a:rPr>
              <a:t>")</a:t>
            </a:r>
          </a:p>
          <a:p>
            <a:r>
              <a:rPr lang="en-US" sz="1400" dirty="0">
                <a:latin typeface="ING Me" panose="02000506040000020004"/>
              </a:rPr>
              <a:t>public class </a:t>
            </a:r>
            <a:r>
              <a:rPr lang="en-US" sz="1400" dirty="0" err="1">
                <a:latin typeface="ING Me" panose="02000506040000020004"/>
              </a:rPr>
              <a:t>MyFirstCustomCheck</a:t>
            </a:r>
            <a:r>
              <a:rPr lang="en-US" sz="1400" dirty="0">
                <a:latin typeface="ING Me" panose="02000506040000020004"/>
              </a:rPr>
              <a:t> extends </a:t>
            </a:r>
            <a:r>
              <a:rPr lang="en-US" sz="1400" dirty="0" err="1">
                <a:latin typeface="ING Me" panose="02000506040000020004"/>
              </a:rPr>
              <a:t>IssuableSubscriptionVisitor</a:t>
            </a:r>
            <a:r>
              <a:rPr lang="en-US" sz="1400" dirty="0">
                <a:latin typeface="ING Me" panose="02000506040000020004"/>
              </a:rPr>
              <a:t> {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  @Override</a:t>
            </a:r>
          </a:p>
          <a:p>
            <a:r>
              <a:rPr lang="en-US" sz="1400" dirty="0">
                <a:latin typeface="ING Me" panose="02000506040000020004"/>
              </a:rPr>
              <a:t>  public List&lt;Kind&gt; </a:t>
            </a:r>
            <a:r>
              <a:rPr lang="en-US" sz="1400" dirty="0" err="1">
                <a:latin typeface="ING Me" panose="02000506040000020004"/>
              </a:rPr>
              <a:t>nodesToVisit</a:t>
            </a:r>
            <a:r>
              <a:rPr lang="en-US" sz="1400" dirty="0">
                <a:latin typeface="ING Me" panose="02000506040000020004"/>
              </a:rPr>
              <a:t>() {</a:t>
            </a:r>
          </a:p>
          <a:p>
            <a:r>
              <a:rPr lang="en-US" sz="1400" dirty="0">
                <a:latin typeface="ING Me" panose="02000506040000020004"/>
              </a:rPr>
              <a:t>    return </a:t>
            </a:r>
            <a:r>
              <a:rPr lang="en-US" sz="1400" dirty="0" err="1">
                <a:latin typeface="ING Me" panose="02000506040000020004"/>
              </a:rPr>
              <a:t>ImmutableList.of</a:t>
            </a:r>
            <a:r>
              <a:rPr lang="en-US" sz="1400" dirty="0">
                <a:latin typeface="ING Me" panose="02000506040000020004"/>
              </a:rPr>
              <a:t>();</a:t>
            </a:r>
          </a:p>
          <a:p>
            <a:r>
              <a:rPr lang="en-US" sz="1400" dirty="0">
                <a:latin typeface="ING Me" panose="02000506040000020004"/>
              </a:rPr>
              <a:t>  }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} </a:t>
            </a:r>
            <a:endParaRPr lang="en-US" sz="105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2274766599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Build &amp; Deployme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ING Me" panose="02000506040000020004"/>
              </a:rPr>
              <a:t>After creating all the relevant files for SonarQube rule customization,  build the  library  using maven or any other build too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ING Me" panose="0200050604000002000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ING Me" panose="02000506040000020004"/>
              </a:rPr>
              <a:t>Copy the jar file from target directory to $HOME\sonarqube-8.1.0.31237\extensions\plugins directo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ING Me" panose="0200050604000002000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ING Me" panose="02000506040000020004"/>
              </a:rPr>
              <a:t>Start the sonar server by clicking </a:t>
            </a:r>
            <a:r>
              <a:rPr lang="en-US" sz="2000" dirty="0" err="1">
                <a:latin typeface="ING Me" panose="02000506040000020004"/>
              </a:rPr>
              <a:t>StartSonar</a:t>
            </a:r>
            <a:r>
              <a:rPr lang="en-US" sz="2000" dirty="0">
                <a:latin typeface="ING Me" panose="02000506040000020004"/>
              </a:rPr>
              <a:t> under $HOME\sonarqube-8.1.0.31237\bin\windows-x86-64\ director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ING Me" panose="0200050604000002000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ING Me" panose="02000506040000020004"/>
              </a:rPr>
              <a:t>Verify the rule is present  in the repository section in </a:t>
            </a:r>
            <a:r>
              <a:rPr lang="en-US" sz="2000" dirty="0" err="1">
                <a:latin typeface="ING Me" panose="02000506040000020004"/>
              </a:rPr>
              <a:t>sonarqube</a:t>
            </a:r>
            <a:r>
              <a:rPr lang="en-US" sz="2000" dirty="0">
                <a:latin typeface="ING Me" panose="02000506040000020004"/>
              </a:rPr>
              <a:t> admin screen.</a:t>
            </a:r>
            <a:endParaRPr lang="en-US" sz="1050" dirty="0">
              <a:latin typeface="ING Me" panose="02000506040000020004"/>
            </a:endParaRPr>
          </a:p>
          <a:p>
            <a:endParaRPr lang="en-US" sz="1050" dirty="0">
              <a:latin typeface="ING Me" panose="02000506040000020004"/>
            </a:endParaRPr>
          </a:p>
          <a:p>
            <a:endParaRPr lang="en-US" sz="1050" dirty="0">
              <a:latin typeface="ING Me" panose="02000506040000020004"/>
            </a:endParaRPr>
          </a:p>
          <a:p>
            <a:endParaRPr lang="en-US" sz="1050" dirty="0">
              <a:latin typeface="ING Me" panose="02000506040000020004"/>
            </a:endParaRPr>
          </a:p>
          <a:p>
            <a:endParaRPr lang="en-US" sz="105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228923218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- TO Naming Convention R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package </a:t>
            </a:r>
            <a:r>
              <a:rPr lang="en-US" dirty="0" err="1"/>
              <a:t>com.sonar.test</a:t>
            </a:r>
            <a:r>
              <a:rPr lang="en-US" dirty="0"/>
              <a:t>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ublic class </a:t>
            </a:r>
            <a:r>
              <a:rPr lang="en-US" dirty="0" err="1"/>
              <a:t>TONameVerify</a:t>
            </a:r>
            <a:r>
              <a:rPr lang="en-US" dirty="0"/>
              <a:t> {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err="1"/>
              <a:t>boolean</a:t>
            </a:r>
            <a:r>
              <a:rPr lang="en-US" dirty="0"/>
              <a:t> </a:t>
            </a:r>
            <a:r>
              <a:rPr lang="en-US" dirty="0" err="1"/>
              <a:t>booleanVarTO</a:t>
            </a:r>
            <a:r>
              <a:rPr lang="en-US" dirty="0"/>
              <a:t>;</a:t>
            </a:r>
          </a:p>
          <a:p>
            <a:pPr marL="0" indent="0">
              <a:buNone/>
            </a:pPr>
            <a:r>
              <a:rPr lang="en-US" dirty="0"/>
              <a:t>	byte </a:t>
            </a:r>
            <a:r>
              <a:rPr lang="en-US" dirty="0" err="1"/>
              <a:t>byteVar</a:t>
            </a:r>
            <a:r>
              <a:rPr lang="en-US" dirty="0"/>
              <a:t>;</a:t>
            </a:r>
          </a:p>
          <a:p>
            <a:pPr marL="0" indent="0">
              <a:buNone/>
            </a:pPr>
            <a:r>
              <a:rPr lang="en-US" dirty="0"/>
              <a:t>	short </a:t>
            </a:r>
            <a:r>
              <a:rPr lang="en-US" dirty="0" err="1"/>
              <a:t>shortVar</a:t>
            </a:r>
            <a:r>
              <a:rPr lang="en-US" dirty="0"/>
              <a:t>;</a:t>
            </a:r>
          </a:p>
          <a:p>
            <a:pPr marL="0" indent="0">
              <a:buNone/>
            </a:pPr>
            <a:r>
              <a:rPr lang="en-US" dirty="0"/>
              <a:t>	long </a:t>
            </a:r>
            <a:r>
              <a:rPr lang="en-US" dirty="0" err="1"/>
              <a:t>longVar</a:t>
            </a:r>
            <a:r>
              <a:rPr lang="en-US" dirty="0"/>
              <a:t>;</a:t>
            </a:r>
          </a:p>
          <a:p>
            <a:pPr marL="0" indent="0">
              <a:buNone/>
            </a:pPr>
            <a:r>
              <a:rPr lang="en-US" dirty="0"/>
              <a:t>	//Employee </a:t>
            </a:r>
            <a:r>
              <a:rPr lang="en-US" dirty="0" err="1"/>
              <a:t>empTO</a:t>
            </a:r>
            <a:r>
              <a:rPr lang="en-US" dirty="0"/>
              <a:t>;</a:t>
            </a:r>
          </a:p>
          <a:p>
            <a:pPr marL="0" indent="0">
              <a:buNone/>
            </a:pPr>
            <a:r>
              <a:rPr lang="en-US" dirty="0"/>
              <a:t>}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870877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- Business Service Naming Convention R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package com.sonar.test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mport com.sonar.service.BusinessService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ublic class BcPartnerService extends BusinessService{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}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550062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– ImmutableMap Variable Type R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package com.sonar.test;</a:t>
            </a:r>
          </a:p>
          <a:p>
            <a:pPr marL="0" indent="0">
              <a:buNone/>
            </a:pPr>
            <a:r>
              <a:rPr lang="en-US" dirty="0"/>
              <a:t>import java.util.Map;</a:t>
            </a:r>
          </a:p>
          <a:p>
            <a:pPr marL="0" indent="0">
              <a:buNone/>
            </a:pPr>
            <a:r>
              <a:rPr lang="en-US" dirty="0"/>
              <a:t>import com.google.common.collect.ImmutableMap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ublic class ImutableMapTest {</a:t>
            </a:r>
          </a:p>
          <a:p>
            <a:pPr marL="0" indent="0">
              <a:buNone/>
            </a:pPr>
            <a:r>
              <a:rPr lang="en-US" dirty="0"/>
              <a:t>	public void methodTest1() {</a:t>
            </a:r>
          </a:p>
          <a:p>
            <a:pPr marL="0" indent="0">
              <a:buNone/>
            </a:pPr>
            <a:r>
              <a:rPr lang="en-US" dirty="0"/>
              <a:t>		Map&lt;String, String&gt; </a:t>
            </a:r>
            <a:r>
              <a:rPr lang="en-US" dirty="0" err="1"/>
              <a:t>immutableMap</a:t>
            </a:r>
            <a:r>
              <a:rPr lang="en-US" dirty="0"/>
              <a:t> =  ImmutableMap.of("United States", "Washington D.C.");</a:t>
            </a:r>
          </a:p>
          <a:p>
            <a:pPr marL="0" indent="0">
              <a:buNone/>
            </a:pPr>
            <a:r>
              <a:rPr lang="en-US" dirty="0"/>
              <a:t>	}</a:t>
            </a:r>
          </a:p>
          <a:p>
            <a:pPr marL="0" indent="0">
              <a:buNone/>
            </a:pPr>
            <a:r>
              <a:rPr lang="en-US" dirty="0"/>
              <a:t>}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729298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– Singleton Pattern Thread Safety R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074" y="1262270"/>
            <a:ext cx="10922726" cy="545203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package com.sonar.test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ublic final class Singleton {</a:t>
            </a:r>
          </a:p>
          <a:p>
            <a:pPr marL="0" indent="0">
              <a:buNone/>
            </a:pPr>
            <a:r>
              <a:rPr lang="it-IT" dirty="0"/>
              <a:t>	private static volatile Singleton instance = null;</a:t>
            </a:r>
          </a:p>
          <a:p>
            <a:pPr marL="0" indent="0">
              <a:buNone/>
            </a:pPr>
            <a:r>
              <a:rPr lang="en-US" dirty="0"/>
              <a:t>	private Singleton() {</a:t>
            </a:r>
          </a:p>
          <a:p>
            <a:pPr marL="0" indent="0">
              <a:buNone/>
            </a:pPr>
            <a:r>
              <a:rPr lang="en-US" dirty="0"/>
              <a:t>	}</a:t>
            </a:r>
          </a:p>
          <a:p>
            <a:pPr marL="0" indent="0">
              <a:buNone/>
            </a:pPr>
            <a:r>
              <a:rPr lang="en-US" dirty="0"/>
              <a:t>public static Singleton getInstance2() {</a:t>
            </a:r>
          </a:p>
          <a:p>
            <a:pPr marL="0" indent="0">
              <a:buNone/>
            </a:pPr>
            <a:r>
              <a:rPr lang="en-US" dirty="0"/>
              <a:t>		if (instance == null) {</a:t>
            </a:r>
          </a:p>
          <a:p>
            <a:pPr marL="0" indent="0">
              <a:buNone/>
            </a:pPr>
            <a:r>
              <a:rPr lang="en-US" dirty="0"/>
              <a:t>			//synchronized (Singleton.class) {				</a:t>
            </a:r>
          </a:p>
          <a:p>
            <a:pPr marL="0" indent="0">
              <a:buNone/>
            </a:pPr>
            <a:r>
              <a:rPr lang="en-US" dirty="0"/>
              <a:t>				if (instance == null) {</a:t>
            </a:r>
          </a:p>
          <a:p>
            <a:pPr marL="0" indent="0">
              <a:buNone/>
            </a:pPr>
            <a:r>
              <a:rPr lang="en-US" dirty="0"/>
              <a:t>					instance = new Singleton();</a:t>
            </a:r>
          </a:p>
          <a:p>
            <a:pPr marL="0" indent="0">
              <a:buNone/>
            </a:pPr>
            <a:r>
              <a:rPr lang="en-US" dirty="0"/>
              <a:t>				}</a:t>
            </a:r>
          </a:p>
          <a:p>
            <a:pPr marL="0" indent="0">
              <a:buNone/>
            </a:pPr>
            <a:r>
              <a:rPr lang="en-US" dirty="0"/>
              <a:t>			//}</a:t>
            </a:r>
          </a:p>
          <a:p>
            <a:pPr marL="0" indent="0">
              <a:buNone/>
            </a:pPr>
            <a:r>
              <a:rPr lang="en-US" dirty="0"/>
              <a:t>		}</a:t>
            </a:r>
          </a:p>
          <a:p>
            <a:pPr marL="0" indent="0">
              <a:buNone/>
            </a:pPr>
            <a:r>
              <a:rPr lang="en-US" dirty="0"/>
              <a:t>		return instance;</a:t>
            </a:r>
          </a:p>
          <a:p>
            <a:pPr marL="0" indent="0">
              <a:buNone/>
            </a:pPr>
            <a:r>
              <a:rPr lang="en-US" dirty="0"/>
              <a:t>	}</a:t>
            </a:r>
          </a:p>
          <a:p>
            <a:pPr marL="0" indent="0">
              <a:buNone/>
            </a:pPr>
            <a:r>
              <a:rPr lang="en-US" dirty="0"/>
              <a:t>}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661171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– CircuitBreaker Fallback Method R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074" y="1262270"/>
            <a:ext cx="10922726" cy="545203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100" dirty="0"/>
              <a:t>package com.sonar.test;</a:t>
            </a:r>
          </a:p>
          <a:p>
            <a:pPr marL="0" indent="0">
              <a:buNone/>
            </a:pPr>
            <a:r>
              <a:rPr lang="en-US" sz="1100" dirty="0"/>
              <a:t>import java.util.Date;</a:t>
            </a:r>
          </a:p>
          <a:p>
            <a:pPr marL="0" indent="0">
              <a:buNone/>
            </a:pPr>
            <a:r>
              <a:rPr lang="en-US" sz="1100" dirty="0"/>
              <a:t>import org.springframework.beans.factory.annotation.Autowired;</a:t>
            </a:r>
          </a:p>
          <a:p>
            <a:pPr marL="0" indent="0">
              <a:buNone/>
            </a:pPr>
            <a:r>
              <a:rPr lang="en-US" sz="1100" dirty="0"/>
              <a:t>import org.springframework.stereotype.Service;</a:t>
            </a:r>
          </a:p>
          <a:p>
            <a:pPr marL="0" indent="0">
              <a:buNone/>
            </a:pPr>
            <a:r>
              <a:rPr lang="en-US" sz="1100" dirty="0"/>
              <a:t>import com.netflix.hystrix.contrib.javanica.annotation.HystrixCommand;</a:t>
            </a:r>
          </a:p>
          <a:p>
            <a:pPr marL="0" indent="0">
              <a:buNone/>
            </a:pPr>
            <a:r>
              <a:rPr lang="en-US" sz="1100" dirty="0"/>
              <a:t>@Service </a:t>
            </a:r>
          </a:p>
          <a:p>
            <a:pPr marL="0" indent="0">
              <a:buNone/>
            </a:pPr>
            <a:r>
              <a:rPr lang="en-US" sz="1100" dirty="0"/>
              <a:t>public class StudentServiceDelegate {</a:t>
            </a:r>
          </a:p>
          <a:p>
            <a:pPr marL="0" indent="0">
              <a:buNone/>
            </a:pPr>
            <a:r>
              <a:rPr lang="en-US" sz="1100" dirty="0"/>
              <a:t>	@Autowired</a:t>
            </a:r>
          </a:p>
          <a:p>
            <a:pPr marL="0" indent="0">
              <a:buNone/>
            </a:pPr>
            <a:r>
              <a:rPr lang="en-US" sz="1100" dirty="0"/>
              <a:t>	@HystrixCommand(fallbackMethod="callStudentServiceAndGetData_Fallback") </a:t>
            </a:r>
          </a:p>
          <a:p>
            <a:pPr marL="0" indent="0">
              <a:buNone/>
            </a:pPr>
            <a:r>
              <a:rPr lang="en-US" sz="1100" dirty="0"/>
              <a:t>	public String callStudentServiceAndGetData(String schoolname) {</a:t>
            </a:r>
          </a:p>
          <a:p>
            <a:pPr marL="0" indent="0">
              <a:buNone/>
            </a:pPr>
            <a:r>
              <a:rPr lang="en-US" sz="1100" dirty="0"/>
              <a:t>		System.out.println("Getting School details ");</a:t>
            </a:r>
          </a:p>
          <a:p>
            <a:pPr marL="0" indent="0">
              <a:buNone/>
            </a:pPr>
            <a:r>
              <a:rPr lang="en-US" sz="1100" dirty="0"/>
              <a:t>		return "NORMAL FLOW !!! - School Name -  " + schoolname + " :::  Student Detail";</a:t>
            </a:r>
          </a:p>
          <a:p>
            <a:pPr marL="0" indent="0">
              <a:buNone/>
            </a:pPr>
            <a:r>
              <a:rPr lang="en-US" sz="1100" dirty="0"/>
              <a:t>	}</a:t>
            </a:r>
          </a:p>
          <a:p>
            <a:pPr marL="0" indent="0">
              <a:buNone/>
            </a:pPr>
            <a:r>
              <a:rPr lang="en-US" sz="1100" dirty="0"/>
              <a:t>	@SuppressWarnings("unused")</a:t>
            </a:r>
          </a:p>
          <a:p>
            <a:pPr marL="0" indent="0">
              <a:buNone/>
            </a:pPr>
            <a:r>
              <a:rPr lang="en-US" sz="1100" dirty="0"/>
              <a:t>	private String callStudentServiceAndGetData_FallbackNew(String schoolname) { </a:t>
            </a:r>
          </a:p>
          <a:p>
            <a:pPr marL="0" indent="0">
              <a:buNone/>
            </a:pPr>
            <a:r>
              <a:rPr lang="en-US" sz="1100" dirty="0"/>
              <a:t>		System.out.println("Student Service is down!!! fallback route enabled...");</a:t>
            </a:r>
          </a:p>
          <a:p>
            <a:pPr marL="0" indent="0">
              <a:buNone/>
            </a:pPr>
            <a:r>
              <a:rPr lang="en-US" sz="1100" dirty="0"/>
              <a:t>		return "CIRCUIT BREAKER ENABLED!!!No Response From Student Service at this moment. Service will be back shortly - " + new Date();</a:t>
            </a:r>
          </a:p>
          <a:p>
            <a:pPr marL="0" indent="0">
              <a:buNone/>
            </a:pPr>
            <a:r>
              <a:rPr lang="en-US" sz="1100" dirty="0"/>
              <a:t>	}</a:t>
            </a:r>
          </a:p>
          <a:p>
            <a:pPr marL="0" indent="0">
              <a:buNone/>
            </a:pPr>
            <a:r>
              <a:rPr lang="en-US" sz="1100" dirty="0"/>
              <a:t>}</a:t>
            </a:r>
          </a:p>
          <a:p>
            <a:pPr marL="0" indent="0">
              <a:buNone/>
            </a:pPr>
            <a:endParaRPr lang="en-US" sz="1100" dirty="0"/>
          </a:p>
          <a:p>
            <a:pPr marL="0" indent="0">
              <a:buNone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04259280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ING Me" panose="02000506040000020004"/>
              </a:rPr>
              <a:t>Demo on SonarQube Rule Customization.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>
                <a:latin typeface="ING Me" panose="02000506040000020004"/>
              </a:rPr>
              <a:t>Demo on SonarQube Rule Customization.</a:t>
            </a:r>
          </a:p>
          <a:p>
            <a:endParaRPr lang="en-US" sz="4400" dirty="0">
              <a:latin typeface="ING Me" panose="02000506040000020004"/>
            </a:endParaRPr>
          </a:p>
          <a:p>
            <a:endParaRPr lang="en-US" sz="4400" dirty="0">
              <a:latin typeface="ING Me" panose="02000506040000020004"/>
            </a:endParaRPr>
          </a:p>
          <a:p>
            <a:endParaRPr lang="en-US" sz="4400" dirty="0">
              <a:latin typeface="ING Me" panose="02000506040000020004"/>
            </a:endParaRPr>
          </a:p>
          <a:p>
            <a:endParaRPr lang="en-US" sz="4400" dirty="0">
              <a:latin typeface="ING Me" panose="02000506040000020004"/>
            </a:endParaRPr>
          </a:p>
          <a:p>
            <a:endParaRPr lang="en-US" sz="4000" dirty="0"/>
          </a:p>
          <a:p>
            <a:endParaRPr lang="en-US" sz="140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120290946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122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latin typeface="ING Me" panose="02000506040000020004"/>
              </a:rPr>
              <a:t>Overview of SonarQub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847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(formerly Sonar) is an open-source platform developed by </a:t>
            </a:r>
            <a:r>
              <a:rPr lang="en-US" dirty="0" err="1">
                <a:latin typeface="ING Me" panose="02000506040000020004"/>
              </a:rPr>
              <a:t>SonarSource</a:t>
            </a:r>
            <a:r>
              <a:rPr lang="en-US" dirty="0">
                <a:latin typeface="ING Me" panose="02000506040000020004"/>
              </a:rPr>
              <a:t> for continuous inspection of code quality to perform automatic reviews with static analysis of code to </a:t>
            </a:r>
            <a:r>
              <a:rPr lang="en-US" b="1" dirty="0">
                <a:latin typeface="ING Me" panose="02000506040000020004"/>
              </a:rPr>
              <a:t>detect bugs, code smells, and security vulnerabilities </a:t>
            </a:r>
            <a:r>
              <a:rPr lang="en-US" dirty="0">
                <a:latin typeface="ING Me" panose="02000506040000020004"/>
              </a:rPr>
              <a:t>on 20+ programming langu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ategory has a corresponding number of issues or a percentage valu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sues can have one of five different severity levels: </a:t>
            </a:r>
            <a:r>
              <a:rPr lang="en-US" b="1" i="1" dirty="0"/>
              <a:t>blocker, critical, major, minor</a:t>
            </a:r>
            <a:r>
              <a:rPr lang="en-US" b="1" dirty="0"/>
              <a:t> and </a:t>
            </a:r>
            <a:r>
              <a:rPr lang="en-US" b="1" i="1" dirty="0"/>
              <a:t>info</a:t>
            </a:r>
            <a:r>
              <a:rPr lang="en-US" i="1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offers reports on </a:t>
            </a:r>
            <a:r>
              <a:rPr lang="en-US" b="1" dirty="0">
                <a:latin typeface="ING Me" panose="02000506040000020004"/>
              </a:rPr>
              <a:t>duplicated code, coding standards, unit tests, code coverage, code complexity, comments, bugs, and security vulnerabilities</a:t>
            </a:r>
            <a:r>
              <a:rPr lang="en-US" dirty="0">
                <a:latin typeface="ING Me" panose="02000506040000020004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provides fully automated analysis </a:t>
            </a:r>
            <a:r>
              <a:rPr lang="en-US" b="1" dirty="0">
                <a:latin typeface="ING Me" panose="02000506040000020004"/>
              </a:rPr>
              <a:t>and integration with Maven, Ant, Gradle, </a:t>
            </a:r>
            <a:r>
              <a:rPr lang="en-US" b="1" dirty="0" err="1">
                <a:latin typeface="ING Me" panose="02000506040000020004"/>
              </a:rPr>
              <a:t>MSBuild</a:t>
            </a:r>
            <a:r>
              <a:rPr lang="en-US" b="1" dirty="0">
                <a:latin typeface="ING Me" panose="02000506040000020004"/>
              </a:rPr>
              <a:t> and continuous integration tools (Atlassian Bamboo, Jenkins, Hudson, etc.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integrates </a:t>
            </a:r>
            <a:r>
              <a:rPr lang="en-US" b="1" dirty="0">
                <a:latin typeface="ING Me" panose="02000506040000020004"/>
              </a:rPr>
              <a:t>with Eclipse, Visual Studio, and IntelliJ IDEA </a:t>
            </a:r>
            <a:r>
              <a:rPr lang="en-US" dirty="0">
                <a:latin typeface="ING Me" panose="02000506040000020004"/>
              </a:rPr>
              <a:t>development environments through the </a:t>
            </a:r>
            <a:r>
              <a:rPr lang="en-US" b="1" dirty="0" err="1">
                <a:latin typeface="ING Me" panose="02000506040000020004"/>
              </a:rPr>
              <a:t>SonarLint</a:t>
            </a:r>
            <a:r>
              <a:rPr lang="en-US" dirty="0">
                <a:latin typeface="ING Me" panose="02000506040000020004"/>
              </a:rPr>
              <a:t> plug-ins, and also integrates with external tools like LDAP, Active Directory, GitHub, and oth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is expandable with the use of plug-i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endParaRPr lang="en-US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113808038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latin typeface="ING Me" panose="02000506040000020004"/>
              </a:rPr>
              <a:t>SonarQube Repor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>
              <a:latin typeface="ING Me" panose="02000506040000020004"/>
            </a:endParaRPr>
          </a:p>
          <a:p>
            <a:endParaRPr lang="en-US" sz="20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5A85B5-BF8B-45DC-8740-927FD2C684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828" y="992348"/>
            <a:ext cx="10316938" cy="4790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24705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latin typeface="ING Me" panose="02000506040000020004"/>
              </a:rPr>
              <a:t>SonarQube Repor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>
              <a:latin typeface="ING Me" panose="02000506040000020004"/>
            </a:endParaRPr>
          </a:p>
          <a:p>
            <a:endParaRPr lang="en-US" sz="20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37CDD1-3912-44DB-BF5A-DBCCEC32F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828" y="1020065"/>
            <a:ext cx="10654375" cy="531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3204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SonarQube Internal Architecture </a:t>
            </a:r>
            <a:endParaRPr lang="en-US" dirty="0">
              <a:latin typeface="ING Me" panose="02000506040000020004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9166" y="1045028"/>
            <a:ext cx="8961120" cy="5408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29574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Quality Profiles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Quality Profiles are collections of rules to apply during an analysis.</a:t>
            </a: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6318C1-91F7-48D8-8254-E197F0D9BC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399" y="1749287"/>
            <a:ext cx="9890713" cy="463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78026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SonarQube Rules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B3BB7C-4305-4C73-9EFE-C6F05ADF02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122" y="984142"/>
            <a:ext cx="10507381" cy="479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524804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Writing Custom Rules For Java in SonarQube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57C6E8-BA0B-43AC-A75E-FFAF72A0568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81878" y="1075644"/>
            <a:ext cx="10774018" cy="503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65264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To create our first custom rule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ING Me" panose="02000506040000020004"/>
              </a:rPr>
              <a:t>1.In folder /</a:t>
            </a:r>
            <a:r>
              <a:rPr lang="en-US" sz="2000" dirty="0" err="1">
                <a:latin typeface="ING Me" panose="02000506040000020004"/>
              </a:rPr>
              <a:t>src</a:t>
            </a:r>
            <a:r>
              <a:rPr lang="en-US" sz="2000" dirty="0">
                <a:latin typeface="ING Me" panose="02000506040000020004"/>
              </a:rPr>
              <a:t>/test/files, create a new empty file named MyFirstCustomCheck.java, and copy-paste the content of the following code snippet.</a:t>
            </a:r>
          </a:p>
          <a:p>
            <a:endParaRPr lang="en-US" sz="2000" dirty="0">
              <a:latin typeface="ING Me" panose="02000506040000020004"/>
            </a:endParaRPr>
          </a:p>
          <a:p>
            <a:r>
              <a:rPr lang="en-US" sz="2000" dirty="0">
                <a:latin typeface="ING Me" panose="02000506040000020004"/>
              </a:rPr>
              <a:t>MyFirstCustomCheck.java</a:t>
            </a:r>
          </a:p>
          <a:p>
            <a:r>
              <a:rPr lang="en-US" sz="2000" dirty="0">
                <a:latin typeface="ING Me" panose="02000506040000020004"/>
              </a:rPr>
              <a:t>1</a:t>
            </a:r>
          </a:p>
          <a:p>
            <a:r>
              <a:rPr lang="en-US" sz="2000" dirty="0">
                <a:latin typeface="ING Me" panose="02000506040000020004"/>
              </a:rPr>
              <a:t>2</a:t>
            </a:r>
          </a:p>
          <a:p>
            <a:r>
              <a:rPr lang="en-US" sz="2000" dirty="0">
                <a:latin typeface="ING Me" panose="02000506040000020004"/>
              </a:rPr>
              <a:t>3</a:t>
            </a:r>
          </a:p>
          <a:p>
            <a:r>
              <a:rPr lang="en-US" sz="2000" dirty="0">
                <a:latin typeface="ING Me" panose="02000506040000020004"/>
              </a:rPr>
              <a:t>class </a:t>
            </a:r>
            <a:r>
              <a:rPr lang="en-US" sz="2000" dirty="0" err="1">
                <a:latin typeface="ING Me" panose="02000506040000020004"/>
              </a:rPr>
              <a:t>MyClass</a:t>
            </a:r>
            <a:r>
              <a:rPr lang="en-US" sz="2000" dirty="0">
                <a:latin typeface="ING Me" panose="02000506040000020004"/>
              </a:rPr>
              <a:t> {</a:t>
            </a:r>
          </a:p>
          <a:p>
            <a:r>
              <a:rPr lang="en-US" sz="2000" dirty="0">
                <a:latin typeface="ING Me" panose="02000506040000020004"/>
              </a:rPr>
              <a:t>}</a:t>
            </a:r>
          </a:p>
          <a:p>
            <a:endParaRPr lang="en-US" sz="2000" dirty="0">
              <a:latin typeface="ING Me" panose="02000506040000020004"/>
            </a:endParaRPr>
          </a:p>
          <a:p>
            <a:r>
              <a:rPr lang="en-US" sz="2000" dirty="0">
                <a:latin typeface="ING Me" panose="02000506040000020004"/>
              </a:rPr>
              <a:t> </a:t>
            </a:r>
            <a:endParaRPr lang="en-US" sz="140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418468547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HCL Template">
  <a:themeElements>
    <a:clrScheme name="HCL_RBtC">
      <a:dk1>
        <a:srgbClr val="000000"/>
      </a:dk1>
      <a:lt1>
        <a:srgbClr val="FFFFFF"/>
      </a:lt1>
      <a:dk2>
        <a:srgbClr val="F58220"/>
      </a:dk2>
      <a:lt2>
        <a:srgbClr val="0066B3"/>
      </a:lt2>
      <a:accent1>
        <a:srgbClr val="C82323"/>
      </a:accent1>
      <a:accent2>
        <a:srgbClr val="993F98"/>
      </a:accent2>
      <a:accent3>
        <a:srgbClr val="00AFBE"/>
      </a:accent3>
      <a:accent4>
        <a:srgbClr val="46C8F5"/>
      </a:accent4>
      <a:accent5>
        <a:srgbClr val="CDDC0A"/>
      </a:accent5>
      <a:accent6>
        <a:srgbClr val="FAB914"/>
      </a:accent6>
      <a:hlink>
        <a:srgbClr val="0066FF"/>
      </a:hlink>
      <a:folHlink>
        <a:srgbClr val="FAB9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eme3_24072018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3_24072018" id="{91819D46-EC97-4043-8C24-582A39E5D826}" vid="{6F0DD1F3-34C4-4196-B18A-E3C0384D939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91</TotalTime>
  <Words>1094</Words>
  <Application>Microsoft Office PowerPoint</Application>
  <PresentationFormat>Widescreen</PresentationFormat>
  <Paragraphs>224</Paragraphs>
  <Slides>19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2" baseType="lpstr">
      <vt:lpstr>ING Me</vt:lpstr>
      <vt:lpstr>Novecento Book</vt:lpstr>
      <vt:lpstr>Arial</vt:lpstr>
      <vt:lpstr>Calibri</vt:lpstr>
      <vt:lpstr>Calibri Light</vt:lpstr>
      <vt:lpstr>Symbol</vt:lpstr>
      <vt:lpstr>Webdings</vt:lpstr>
      <vt:lpstr>Wingdings</vt:lpstr>
      <vt:lpstr>Wingdings 2</vt:lpstr>
      <vt:lpstr>1_Office Theme</vt:lpstr>
      <vt:lpstr>2_HCL Template</vt:lpstr>
      <vt:lpstr>Theme3_24072018</vt:lpstr>
      <vt:lpstr>think-cell Slide</vt:lpstr>
      <vt:lpstr>PowerPoint Presentation</vt:lpstr>
      <vt:lpstr>Overview of SonarQube</vt:lpstr>
      <vt:lpstr>SonarQube Report</vt:lpstr>
      <vt:lpstr>SonarQube Report</vt:lpstr>
      <vt:lpstr>SonarQube Internal Architecture </vt:lpstr>
      <vt:lpstr>Quality Profiles</vt:lpstr>
      <vt:lpstr>SonarQube Rules</vt:lpstr>
      <vt:lpstr>Writing Custom Rules For Java in SonarQube</vt:lpstr>
      <vt:lpstr>To create our first custom rule</vt:lpstr>
      <vt:lpstr>To create our first custom rule</vt:lpstr>
      <vt:lpstr>To create our first custom rule</vt:lpstr>
      <vt:lpstr>Build &amp; Deployment</vt:lpstr>
      <vt:lpstr>Custom - TO Naming Convention Rule</vt:lpstr>
      <vt:lpstr>Custom - Business Service Naming Convention Rule</vt:lpstr>
      <vt:lpstr>Custom – ImmutableMap Variable Type Rule</vt:lpstr>
      <vt:lpstr>Custom – Singleton Pattern Thread Safety Rule</vt:lpstr>
      <vt:lpstr>Custom – CircuitBreaker Fallback Method Rule</vt:lpstr>
      <vt:lpstr>Demo on SonarQube Rule Customization.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ga Platform Consolidation_HCL Proposal</dc:title>
  <dc:creator>satyadatt.n@hcl.com</dc:creator>
  <cp:lastModifiedBy>S Mahendran</cp:lastModifiedBy>
  <cp:revision>385</cp:revision>
  <dcterms:created xsi:type="dcterms:W3CDTF">2019-11-06T22:02:53Z</dcterms:created>
  <dcterms:modified xsi:type="dcterms:W3CDTF">2020-07-17T13:2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5d64833-e759-49de-872f-af7cc5b86234</vt:lpwstr>
  </property>
  <property fmtid="{D5CDD505-2E9C-101B-9397-08002B2CF9AE}" pid="3" name="HCLClassification">
    <vt:lpwstr>HCL_Cla5s_1nt3rnal</vt:lpwstr>
  </property>
  <property fmtid="{D5CDD505-2E9C-101B-9397-08002B2CF9AE}" pid="4" name="HCL_Cla5s_D6">
    <vt:lpwstr>False</vt:lpwstr>
  </property>
</Properties>
</file>